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3" r:id="rId4"/>
  </p:sldMasterIdLst>
  <p:sldIdLst>
    <p:sldId id="1052" r:id="rId5"/>
    <p:sldId id="1053" r:id="rId6"/>
    <p:sldId id="1054" r:id="rId7"/>
    <p:sldId id="1048" r:id="rId8"/>
    <p:sldId id="1047" r:id="rId9"/>
    <p:sldId id="1049" r:id="rId10"/>
    <p:sldId id="1056" r:id="rId11"/>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81032B-F784-5339-B7E1-FAF45E611EBE}" v="2" dt="2021-09-07T09:01:47.1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3" autoAdjust="0"/>
    <p:restoredTop sz="94660"/>
  </p:normalViewPr>
  <p:slideViewPr>
    <p:cSldViewPr snapToGrid="0">
      <p:cViewPr varScale="1">
        <p:scale>
          <a:sx n="114" d="100"/>
          <a:sy n="114" d="100"/>
        </p:scale>
        <p:origin x="360"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tz, Marlou" userId="f0660b65-d62e-4b9c-a182-90121faa5e3f" providerId="ADAL" clId="{CA178C4A-953C-42A8-9D19-F03C7CE479C2}"/>
    <pc:docChg chg="custSel addSld delSld modSld sldOrd modMainMaster">
      <pc:chgData name="Schultz, Marlou" userId="f0660b65-d62e-4b9c-a182-90121faa5e3f" providerId="ADAL" clId="{CA178C4A-953C-42A8-9D19-F03C7CE479C2}" dt="2021-06-16T12:09:46.141" v="57" actId="6014"/>
      <pc:docMkLst>
        <pc:docMk/>
      </pc:docMkLst>
      <pc:sldChg chg="addSp delSp modSp">
        <pc:chgData name="Schultz, Marlou" userId="f0660b65-d62e-4b9c-a182-90121faa5e3f" providerId="ADAL" clId="{CA178C4A-953C-42A8-9D19-F03C7CE479C2}" dt="2021-06-16T12:06:54.678" v="50"/>
        <pc:sldMkLst>
          <pc:docMk/>
          <pc:sldMk cId="3882376303" sldId="1047"/>
        </pc:sldMkLst>
        <pc:spChg chg="add mod">
          <ac:chgData name="Schultz, Marlou" userId="f0660b65-d62e-4b9c-a182-90121faa5e3f" providerId="ADAL" clId="{CA178C4A-953C-42A8-9D19-F03C7CE479C2}" dt="2021-06-16T12:06:54.678" v="50"/>
          <ac:spMkLst>
            <pc:docMk/>
            <pc:sldMk cId="3882376303" sldId="1047"/>
            <ac:spMk id="2" creationId="{026DD7B0-AFDA-4751-9322-E197AAE98409}"/>
          </ac:spMkLst>
        </pc:spChg>
        <pc:spChg chg="add mod">
          <ac:chgData name="Schultz, Marlou" userId="f0660b65-d62e-4b9c-a182-90121faa5e3f" providerId="ADAL" clId="{CA178C4A-953C-42A8-9D19-F03C7CE479C2}" dt="2021-06-16T12:06:54.678" v="50"/>
          <ac:spMkLst>
            <pc:docMk/>
            <pc:sldMk cId="3882376303" sldId="1047"/>
            <ac:spMk id="3" creationId="{5A756D80-BCA6-46EC-BD76-A3424158F74D}"/>
          </ac:spMkLst>
        </pc:spChg>
        <pc:spChg chg="add mod">
          <ac:chgData name="Schultz, Marlou" userId="f0660b65-d62e-4b9c-a182-90121faa5e3f" providerId="ADAL" clId="{CA178C4A-953C-42A8-9D19-F03C7CE479C2}" dt="2021-06-16T12:06:54.678" v="50"/>
          <ac:spMkLst>
            <pc:docMk/>
            <pc:sldMk cId="3882376303" sldId="1047"/>
            <ac:spMk id="4" creationId="{7081B9EA-D5FD-4DD1-A6D8-C3C5CEFAA573}"/>
          </ac:spMkLst>
        </pc:spChg>
        <pc:spChg chg="del">
          <ac:chgData name="Schultz, Marlou" userId="f0660b65-d62e-4b9c-a182-90121faa5e3f" providerId="ADAL" clId="{CA178C4A-953C-42A8-9D19-F03C7CE479C2}" dt="2021-06-16T12:06:54.678" v="50"/>
          <ac:spMkLst>
            <pc:docMk/>
            <pc:sldMk cId="3882376303" sldId="1047"/>
            <ac:spMk id="8" creationId="{12534188-F98D-488B-A550-0B3C065C0A7D}"/>
          </ac:spMkLst>
        </pc:spChg>
        <pc:spChg chg="del">
          <ac:chgData name="Schultz, Marlou" userId="f0660b65-d62e-4b9c-a182-90121faa5e3f" providerId="ADAL" clId="{CA178C4A-953C-42A8-9D19-F03C7CE479C2}" dt="2021-06-16T12:06:54.678" v="50"/>
          <ac:spMkLst>
            <pc:docMk/>
            <pc:sldMk cId="3882376303" sldId="1047"/>
            <ac:spMk id="9" creationId="{6477EECF-7B27-4FE7-8AFD-1AC46540AFD1}"/>
          </ac:spMkLst>
        </pc:spChg>
      </pc:sldChg>
      <pc:sldChg chg="addSp delSp modSp">
        <pc:chgData name="Schultz, Marlou" userId="f0660b65-d62e-4b9c-a182-90121faa5e3f" providerId="ADAL" clId="{CA178C4A-953C-42A8-9D19-F03C7CE479C2}" dt="2021-06-16T12:05:40.533" v="39"/>
        <pc:sldMkLst>
          <pc:docMk/>
          <pc:sldMk cId="3182634831" sldId="1048"/>
        </pc:sldMkLst>
        <pc:spChg chg="del">
          <ac:chgData name="Schultz, Marlou" userId="f0660b65-d62e-4b9c-a182-90121faa5e3f" providerId="ADAL" clId="{CA178C4A-953C-42A8-9D19-F03C7CE479C2}" dt="2021-06-16T12:05:40.533" v="39"/>
          <ac:spMkLst>
            <pc:docMk/>
            <pc:sldMk cId="3182634831" sldId="1048"/>
            <ac:spMk id="2" creationId="{0341E3A4-2379-4B1C-94E9-3267F71368F3}"/>
          </ac:spMkLst>
        </pc:spChg>
        <pc:spChg chg="del">
          <ac:chgData name="Schultz, Marlou" userId="f0660b65-d62e-4b9c-a182-90121faa5e3f" providerId="ADAL" clId="{CA178C4A-953C-42A8-9D19-F03C7CE479C2}" dt="2021-06-16T12:05:40.533" v="39"/>
          <ac:spMkLst>
            <pc:docMk/>
            <pc:sldMk cId="3182634831" sldId="1048"/>
            <ac:spMk id="3" creationId="{CD18B018-A509-432E-A4BF-E848DD7E744E}"/>
          </ac:spMkLst>
        </pc:spChg>
        <pc:spChg chg="del">
          <ac:chgData name="Schultz, Marlou" userId="f0660b65-d62e-4b9c-a182-90121faa5e3f" providerId="ADAL" clId="{CA178C4A-953C-42A8-9D19-F03C7CE479C2}" dt="2021-06-16T12:05:40.533" v="39"/>
          <ac:spMkLst>
            <pc:docMk/>
            <pc:sldMk cId="3182634831" sldId="1048"/>
            <ac:spMk id="4" creationId="{BB7C4FD6-C9C5-42B7-804F-97C5313ACDCE}"/>
          </ac:spMkLst>
        </pc:spChg>
        <pc:spChg chg="add mod">
          <ac:chgData name="Schultz, Marlou" userId="f0660b65-d62e-4b9c-a182-90121faa5e3f" providerId="ADAL" clId="{CA178C4A-953C-42A8-9D19-F03C7CE479C2}" dt="2021-06-16T12:05:40.533" v="39"/>
          <ac:spMkLst>
            <pc:docMk/>
            <pc:sldMk cId="3182634831" sldId="1048"/>
            <ac:spMk id="5" creationId="{7467970E-04BB-4B0E-B16F-66F95AE2D81D}"/>
          </ac:spMkLst>
        </pc:spChg>
        <pc:spChg chg="add mod">
          <ac:chgData name="Schultz, Marlou" userId="f0660b65-d62e-4b9c-a182-90121faa5e3f" providerId="ADAL" clId="{CA178C4A-953C-42A8-9D19-F03C7CE479C2}" dt="2021-06-16T12:05:40.533" v="39"/>
          <ac:spMkLst>
            <pc:docMk/>
            <pc:sldMk cId="3182634831" sldId="1048"/>
            <ac:spMk id="6" creationId="{C74C51FB-C596-44B7-ABE2-886C72B657F8}"/>
          </ac:spMkLst>
        </pc:spChg>
        <pc:spChg chg="add mod">
          <ac:chgData name="Schultz, Marlou" userId="f0660b65-d62e-4b9c-a182-90121faa5e3f" providerId="ADAL" clId="{CA178C4A-953C-42A8-9D19-F03C7CE479C2}" dt="2021-06-16T12:05:40.533" v="39"/>
          <ac:spMkLst>
            <pc:docMk/>
            <pc:sldMk cId="3182634831" sldId="1048"/>
            <ac:spMk id="7" creationId="{F0FA6EE0-432C-441F-BCF8-8645021D6957}"/>
          </ac:spMkLst>
        </pc:spChg>
        <pc:spChg chg="add mod">
          <ac:chgData name="Schultz, Marlou" userId="f0660b65-d62e-4b9c-a182-90121faa5e3f" providerId="ADAL" clId="{CA178C4A-953C-42A8-9D19-F03C7CE479C2}" dt="2021-06-16T12:05:40.533" v="39"/>
          <ac:spMkLst>
            <pc:docMk/>
            <pc:sldMk cId="3182634831" sldId="1048"/>
            <ac:spMk id="8" creationId="{1FBA5072-B2D5-4885-8305-0D72996D056B}"/>
          </ac:spMkLst>
        </pc:spChg>
      </pc:sldChg>
      <pc:sldChg chg="del ord">
        <pc:chgData name="Schultz, Marlou" userId="f0660b65-d62e-4b9c-a182-90121faa5e3f" providerId="ADAL" clId="{CA178C4A-953C-42A8-9D19-F03C7CE479C2}" dt="2021-06-16T12:02:16.883" v="21" actId="2696"/>
        <pc:sldMkLst>
          <pc:docMk/>
          <pc:sldMk cId="2835362901" sldId="1055"/>
        </pc:sldMkLst>
      </pc:sldChg>
      <pc:sldChg chg="addSp delSp modSp new">
        <pc:chgData name="Schultz, Marlou" userId="f0660b65-d62e-4b9c-a182-90121faa5e3f" providerId="ADAL" clId="{CA178C4A-953C-42A8-9D19-F03C7CE479C2}" dt="2021-06-16T12:03:55.545" v="33"/>
        <pc:sldMkLst>
          <pc:docMk/>
          <pc:sldMk cId="301994707" sldId="1057"/>
        </pc:sldMkLst>
        <pc:spChg chg="del">
          <ac:chgData name="Schultz, Marlou" userId="f0660b65-d62e-4b9c-a182-90121faa5e3f" providerId="ADAL" clId="{CA178C4A-953C-42A8-9D19-F03C7CE479C2}" dt="2021-06-16T12:02:25.989" v="23"/>
          <ac:spMkLst>
            <pc:docMk/>
            <pc:sldMk cId="301994707" sldId="1057"/>
            <ac:spMk id="2" creationId="{ECACB147-5426-40FC-9FF6-5F5D9F92C0E7}"/>
          </ac:spMkLst>
        </pc:spChg>
        <pc:spChg chg="add del mod">
          <ac:chgData name="Schultz, Marlou" userId="f0660b65-d62e-4b9c-a182-90121faa5e3f" providerId="ADAL" clId="{CA178C4A-953C-42A8-9D19-F03C7CE479C2}" dt="2021-06-16T12:03:26.024" v="30"/>
          <ac:spMkLst>
            <pc:docMk/>
            <pc:sldMk cId="301994707" sldId="1057"/>
            <ac:spMk id="3" creationId="{B526EB98-FE89-4734-8DC6-11D667CF37B5}"/>
          </ac:spMkLst>
        </pc:spChg>
        <pc:spChg chg="add del mod">
          <ac:chgData name="Schultz, Marlou" userId="f0660b65-d62e-4b9c-a182-90121faa5e3f" providerId="ADAL" clId="{CA178C4A-953C-42A8-9D19-F03C7CE479C2}" dt="2021-06-16T12:03:26.024" v="30"/>
          <ac:spMkLst>
            <pc:docMk/>
            <pc:sldMk cId="301994707" sldId="1057"/>
            <ac:spMk id="4" creationId="{391C0CF0-2AE5-4F73-A923-C3A4FD2F6355}"/>
          </ac:spMkLst>
        </pc:spChg>
        <pc:spChg chg="add del mod">
          <ac:chgData name="Schultz, Marlou" userId="f0660b65-d62e-4b9c-a182-90121faa5e3f" providerId="ADAL" clId="{CA178C4A-953C-42A8-9D19-F03C7CE479C2}" dt="2021-06-16T12:03:55.545" v="33"/>
          <ac:spMkLst>
            <pc:docMk/>
            <pc:sldMk cId="301994707" sldId="1057"/>
            <ac:spMk id="5" creationId="{D5A2A064-D8DD-4873-9C1E-67844AA0C8DA}"/>
          </ac:spMkLst>
        </pc:spChg>
        <pc:spChg chg="add mod">
          <ac:chgData name="Schultz, Marlou" userId="f0660b65-d62e-4b9c-a182-90121faa5e3f" providerId="ADAL" clId="{CA178C4A-953C-42A8-9D19-F03C7CE479C2}" dt="2021-06-16T12:03:55.545" v="33"/>
          <ac:spMkLst>
            <pc:docMk/>
            <pc:sldMk cId="301994707" sldId="1057"/>
            <ac:spMk id="6" creationId="{D4EB043A-5961-49E3-8BB3-07C9B3BFFB91}"/>
          </ac:spMkLst>
        </pc:spChg>
      </pc:sldChg>
      <pc:sldMasterChg chg="modSldLayout">
        <pc:chgData name="Schultz, Marlou" userId="f0660b65-d62e-4b9c-a182-90121faa5e3f" providerId="ADAL" clId="{CA178C4A-953C-42A8-9D19-F03C7CE479C2}" dt="2021-06-16T12:09:46.141" v="57" actId="6014"/>
        <pc:sldMasterMkLst>
          <pc:docMk/>
          <pc:sldMasterMk cId="203597632" sldId="2147483661"/>
        </pc:sldMasterMkLst>
        <pc:sldLayoutChg chg="mod">
          <pc:chgData name="Schultz, Marlou" userId="f0660b65-d62e-4b9c-a182-90121faa5e3f" providerId="ADAL" clId="{CA178C4A-953C-42A8-9D19-F03C7CE479C2}" dt="2021-06-16T12:07:56.389" v="51" actId="6014"/>
          <pc:sldLayoutMkLst>
            <pc:docMk/>
            <pc:sldMasterMk cId="203597632" sldId="2147483661"/>
            <pc:sldLayoutMk cId="3506342935" sldId="2147483662"/>
          </pc:sldLayoutMkLst>
        </pc:sldLayoutChg>
        <pc:sldLayoutChg chg="mod">
          <pc:chgData name="Schultz, Marlou" userId="f0660b65-d62e-4b9c-a182-90121faa5e3f" providerId="ADAL" clId="{CA178C4A-953C-42A8-9D19-F03C7CE479C2}" dt="2021-06-16T12:08:07.779" v="52" actId="6014"/>
          <pc:sldLayoutMkLst>
            <pc:docMk/>
            <pc:sldMasterMk cId="203597632" sldId="2147483661"/>
            <pc:sldLayoutMk cId="54852921" sldId="2147483717"/>
          </pc:sldLayoutMkLst>
        </pc:sldLayoutChg>
        <pc:sldLayoutChg chg="modSp mod">
          <pc:chgData name="Schultz, Marlou" userId="f0660b65-d62e-4b9c-a182-90121faa5e3f" providerId="ADAL" clId="{CA178C4A-953C-42A8-9D19-F03C7CE479C2}" dt="2021-06-16T12:08:21.534" v="53" actId="6014"/>
          <pc:sldLayoutMkLst>
            <pc:docMk/>
            <pc:sldMasterMk cId="203597632" sldId="2147483661"/>
            <pc:sldLayoutMk cId="1277635684" sldId="2147483718"/>
          </pc:sldLayoutMkLst>
          <pc:spChg chg="mod">
            <ac:chgData name="Schultz, Marlou" userId="f0660b65-d62e-4b9c-a182-90121faa5e3f" providerId="ADAL" clId="{CA178C4A-953C-42A8-9D19-F03C7CE479C2}" dt="2021-06-16T11:59:30.593" v="2" actId="20577"/>
            <ac:spMkLst>
              <pc:docMk/>
              <pc:sldMasterMk cId="203597632" sldId="2147483661"/>
              <pc:sldLayoutMk cId="1277635684" sldId="2147483718"/>
              <ac:spMk id="11" creationId="{DE11FE94-4B9F-4169-B0DF-A30AAA8DF813}"/>
            </ac:spMkLst>
          </pc:spChg>
        </pc:sldLayoutChg>
        <pc:sldLayoutChg chg="addSp delSp modSp mod">
          <pc:chgData name="Schultz, Marlou" userId="f0660b65-d62e-4b9c-a182-90121faa5e3f" providerId="ADAL" clId="{CA178C4A-953C-42A8-9D19-F03C7CE479C2}" dt="2021-06-16T12:08:37.723" v="54" actId="6014"/>
          <pc:sldLayoutMkLst>
            <pc:docMk/>
            <pc:sldMasterMk cId="203597632" sldId="2147483661"/>
            <pc:sldLayoutMk cId="1881231031" sldId="2147483719"/>
          </pc:sldLayoutMkLst>
          <pc:spChg chg="add del">
            <ac:chgData name="Schultz, Marlou" userId="f0660b65-d62e-4b9c-a182-90121faa5e3f" providerId="ADAL" clId="{CA178C4A-953C-42A8-9D19-F03C7CE479C2}" dt="2021-06-16T11:59:41.747" v="3" actId="11529"/>
            <ac:spMkLst>
              <pc:docMk/>
              <pc:sldMasterMk cId="203597632" sldId="2147483661"/>
              <pc:sldLayoutMk cId="1881231031" sldId="2147483719"/>
              <ac:spMk id="2" creationId="{FE940F58-D81B-4FBD-BD2F-363202BBF5E1}"/>
            </ac:spMkLst>
          </pc:spChg>
          <pc:spChg chg="add del mod">
            <ac:chgData name="Schultz, Marlou" userId="f0660b65-d62e-4b9c-a182-90121faa5e3f" providerId="ADAL" clId="{CA178C4A-953C-42A8-9D19-F03C7CE479C2}" dt="2021-06-16T12:02:53.495" v="25" actId="478"/>
            <ac:spMkLst>
              <pc:docMk/>
              <pc:sldMasterMk cId="203597632" sldId="2147483661"/>
              <pc:sldLayoutMk cId="1881231031" sldId="2147483719"/>
              <ac:spMk id="3" creationId="{072ECC61-971D-4F1B-BEAC-3D315777813C}"/>
            </ac:spMkLst>
          </pc:spChg>
          <pc:spChg chg="add mod">
            <ac:chgData name="Schultz, Marlou" userId="f0660b65-d62e-4b9c-a182-90121faa5e3f" providerId="ADAL" clId="{CA178C4A-953C-42A8-9D19-F03C7CE479C2}" dt="2021-06-16T12:03:46.513" v="32" actId="20577"/>
            <ac:spMkLst>
              <pc:docMk/>
              <pc:sldMasterMk cId="203597632" sldId="2147483661"/>
              <pc:sldLayoutMk cId="1881231031" sldId="2147483719"/>
              <ac:spMk id="8" creationId="{133C6183-470D-45B3-ACC9-2231B817EE95}"/>
            </ac:spMkLst>
          </pc:spChg>
          <pc:spChg chg="mod">
            <ac:chgData name="Schultz, Marlou" userId="f0660b65-d62e-4b9c-a182-90121faa5e3f" providerId="ADAL" clId="{CA178C4A-953C-42A8-9D19-F03C7CE479C2}" dt="2021-06-16T12:00:23.404" v="11" actId="20577"/>
            <ac:spMkLst>
              <pc:docMk/>
              <pc:sldMasterMk cId="203597632" sldId="2147483661"/>
              <pc:sldLayoutMk cId="1881231031" sldId="2147483719"/>
              <ac:spMk id="11" creationId="{DE11FE94-4B9F-4169-B0DF-A30AAA8DF813}"/>
            </ac:spMkLst>
          </pc:spChg>
        </pc:sldLayoutChg>
        <pc:sldLayoutChg chg="addSp delSp modSp mod">
          <pc:chgData name="Schultz, Marlou" userId="f0660b65-d62e-4b9c-a182-90121faa5e3f" providerId="ADAL" clId="{CA178C4A-953C-42A8-9D19-F03C7CE479C2}" dt="2021-06-16T12:09:17.707" v="55" actId="6014"/>
          <pc:sldLayoutMkLst>
            <pc:docMk/>
            <pc:sldMasterMk cId="203597632" sldId="2147483661"/>
            <pc:sldLayoutMk cId="2137521108" sldId="2147483720"/>
          </pc:sldLayoutMkLst>
          <pc:spChg chg="add mod ord">
            <ac:chgData name="Schultz, Marlou" userId="f0660b65-d62e-4b9c-a182-90121faa5e3f" providerId="ADAL" clId="{CA178C4A-953C-42A8-9D19-F03C7CE479C2}" dt="2021-06-16T12:06:38.556" v="46" actId="1036"/>
            <ac:spMkLst>
              <pc:docMk/>
              <pc:sldMasterMk cId="203597632" sldId="2147483661"/>
              <pc:sldLayoutMk cId="2137521108" sldId="2147483720"/>
              <ac:spMk id="6" creationId="{FE23A922-587C-4E3A-8C75-7062A00957AE}"/>
            </ac:spMkLst>
          </pc:spChg>
          <pc:picChg chg="add del mod">
            <ac:chgData name="Schultz, Marlou" userId="f0660b65-d62e-4b9c-a182-90121faa5e3f" providerId="ADAL" clId="{CA178C4A-953C-42A8-9D19-F03C7CE479C2}" dt="2021-06-16T12:05:11.250" v="37" actId="478"/>
            <ac:picMkLst>
              <pc:docMk/>
              <pc:sldMasterMk cId="203597632" sldId="2147483661"/>
              <pc:sldLayoutMk cId="2137521108" sldId="2147483720"/>
              <ac:picMk id="8" creationId="{06D9919A-9445-4D66-AD48-0CF5505E32F5}"/>
            </ac:picMkLst>
          </pc:picChg>
          <pc:picChg chg="add mod">
            <ac:chgData name="Schultz, Marlou" userId="f0660b65-d62e-4b9c-a182-90121faa5e3f" providerId="ADAL" clId="{CA178C4A-953C-42A8-9D19-F03C7CE479C2}" dt="2021-06-16T12:05:16.539" v="38"/>
            <ac:picMkLst>
              <pc:docMk/>
              <pc:sldMasterMk cId="203597632" sldId="2147483661"/>
              <pc:sldLayoutMk cId="2137521108" sldId="2147483720"/>
              <ac:picMk id="10" creationId="{C43015CC-9686-4F73-983A-D53D31282481}"/>
            </ac:picMkLst>
          </pc:picChg>
        </pc:sldLayoutChg>
        <pc:sldLayoutChg chg="addSp modSp mod">
          <pc:chgData name="Schultz, Marlou" userId="f0660b65-d62e-4b9c-a182-90121faa5e3f" providerId="ADAL" clId="{CA178C4A-953C-42A8-9D19-F03C7CE479C2}" dt="2021-06-16T12:09:32.868" v="56" actId="6014"/>
          <pc:sldLayoutMkLst>
            <pc:docMk/>
            <pc:sldMasterMk cId="203597632" sldId="2147483661"/>
            <pc:sldLayoutMk cId="3575793695" sldId="2147483721"/>
          </pc:sldLayoutMkLst>
          <pc:spChg chg="add mod">
            <ac:chgData name="Schultz, Marlou" userId="f0660b65-d62e-4b9c-a182-90121faa5e3f" providerId="ADAL" clId="{CA178C4A-953C-42A8-9D19-F03C7CE479C2}" dt="2021-06-16T12:06:42.131" v="49" actId="1036"/>
            <ac:spMkLst>
              <pc:docMk/>
              <pc:sldMasterMk cId="203597632" sldId="2147483661"/>
              <pc:sldLayoutMk cId="3575793695" sldId="2147483721"/>
              <ac:spMk id="8" creationId="{1FFEB988-4336-42AB-9AFE-4A95767CB419}"/>
            </ac:spMkLst>
          </pc:spChg>
          <pc:picChg chg="add mod">
            <ac:chgData name="Schultz, Marlou" userId="f0660b65-d62e-4b9c-a182-90121faa5e3f" providerId="ADAL" clId="{CA178C4A-953C-42A8-9D19-F03C7CE479C2}" dt="2021-06-16T12:06:20.365" v="41"/>
            <ac:picMkLst>
              <pc:docMk/>
              <pc:sldMasterMk cId="203597632" sldId="2147483661"/>
              <pc:sldLayoutMk cId="3575793695" sldId="2147483721"/>
              <ac:picMk id="10" creationId="{18664CB5-5DD5-42AD-948B-EABB087B3B48}"/>
            </ac:picMkLst>
          </pc:picChg>
        </pc:sldLayoutChg>
        <pc:sldLayoutChg chg="addSp delSp modSp mod">
          <pc:chgData name="Schultz, Marlou" userId="f0660b65-d62e-4b9c-a182-90121faa5e3f" providerId="ADAL" clId="{CA178C4A-953C-42A8-9D19-F03C7CE479C2}" dt="2021-06-16T12:09:46.141" v="57" actId="6014"/>
          <pc:sldLayoutMkLst>
            <pc:docMk/>
            <pc:sldMasterMk cId="203597632" sldId="2147483661"/>
            <pc:sldLayoutMk cId="2056680098" sldId="2147483722"/>
          </pc:sldLayoutMkLst>
          <pc:spChg chg="add del mod">
            <ac:chgData name="Schultz, Marlou" userId="f0660b65-d62e-4b9c-a182-90121faa5e3f" providerId="ADAL" clId="{CA178C4A-953C-42A8-9D19-F03C7CE479C2}" dt="2021-06-16T12:06:29.028" v="43"/>
            <ac:spMkLst>
              <pc:docMk/>
              <pc:sldMasterMk cId="203597632" sldId="2147483661"/>
              <pc:sldLayoutMk cId="2056680098" sldId="2147483722"/>
              <ac:spMk id="5" creationId="{FB645C81-F165-495D-9C89-210B7B50A3E0}"/>
            </ac:spMkLst>
          </pc:spChg>
          <pc:picChg chg="add del mod">
            <ac:chgData name="Schultz, Marlou" userId="f0660b65-d62e-4b9c-a182-90121faa5e3f" providerId="ADAL" clId="{CA178C4A-953C-42A8-9D19-F03C7CE479C2}" dt="2021-06-16T12:06:29.028" v="43"/>
            <ac:picMkLst>
              <pc:docMk/>
              <pc:sldMasterMk cId="203597632" sldId="2147483661"/>
              <pc:sldLayoutMk cId="2056680098" sldId="2147483722"/>
              <ac:picMk id="8" creationId="{B2F75E3F-35E9-49A3-ACE1-F57FA4AD16FB}"/>
            </ac:picMkLst>
          </pc:picChg>
        </pc:sldLayoutChg>
      </pc:sldMasterChg>
    </pc:docChg>
  </pc:docChgLst>
  <pc:docChgLst>
    <pc:chgData name="Schultz, Marlou" userId="S::marlou.schultz@capgemini.com::f0660b65-d62e-4b9c-a182-90121faa5e3f" providerId="AD" clId="Web-{FE81032B-F784-5339-B7E1-FAF45E611EBE}"/>
    <pc:docChg chg="addSld delSld">
      <pc:chgData name="Schultz, Marlou" userId="S::marlou.schultz@capgemini.com::f0660b65-d62e-4b9c-a182-90121faa5e3f" providerId="AD" clId="Web-{FE81032B-F784-5339-B7E1-FAF45E611EBE}" dt="2021-09-07T09:01:47.149" v="1"/>
      <pc:docMkLst>
        <pc:docMk/>
      </pc:docMkLst>
      <pc:sldChg chg="new del">
        <pc:chgData name="Schultz, Marlou" userId="S::marlou.schultz@capgemini.com::f0660b65-d62e-4b9c-a182-90121faa5e3f" providerId="AD" clId="Web-{FE81032B-F784-5339-B7E1-FAF45E611EBE}" dt="2021-09-07T09:01:47.149" v="1"/>
        <pc:sldMkLst>
          <pc:docMk/>
          <pc:sldMk cId="820902771" sldId="1058"/>
        </pc:sldMkLst>
      </pc:sldChg>
    </pc:docChg>
  </pc:docChgLst>
  <pc:docChgLst>
    <pc:chgData name="Schultz, Marlou" userId="f0660b65-d62e-4b9c-a182-90121faa5e3f" providerId="ADAL" clId="{505DBA85-F3DC-4C0E-83F6-9BB3AF7681BC}"/>
    <pc:docChg chg="undo custSel addSld delSld modSld modMainMaster">
      <pc:chgData name="Schultz, Marlou" userId="f0660b65-d62e-4b9c-a182-90121faa5e3f" providerId="ADAL" clId="{505DBA85-F3DC-4C0E-83F6-9BB3AF7681BC}" dt="2021-09-07T10:27:22.147" v="38" actId="2696"/>
      <pc:docMkLst>
        <pc:docMk/>
      </pc:docMkLst>
      <pc:sldChg chg="modSp">
        <pc:chgData name="Schultz, Marlou" userId="f0660b65-d62e-4b9c-a182-90121faa5e3f" providerId="ADAL" clId="{505DBA85-F3DC-4C0E-83F6-9BB3AF7681BC}" dt="2021-09-07T10:25:48.489" v="0"/>
        <pc:sldMkLst>
          <pc:docMk/>
          <pc:sldMk cId="3882376303" sldId="1047"/>
        </pc:sldMkLst>
        <pc:spChg chg="mod">
          <ac:chgData name="Schultz, Marlou" userId="f0660b65-d62e-4b9c-a182-90121faa5e3f" providerId="ADAL" clId="{505DBA85-F3DC-4C0E-83F6-9BB3AF7681BC}" dt="2021-09-07T10:25:48.489" v="0"/>
          <ac:spMkLst>
            <pc:docMk/>
            <pc:sldMk cId="3882376303" sldId="1047"/>
            <ac:spMk id="2" creationId="{026DD7B0-AFDA-4751-9322-E197AAE98409}"/>
          </ac:spMkLst>
        </pc:spChg>
        <pc:spChg chg="mod">
          <ac:chgData name="Schultz, Marlou" userId="f0660b65-d62e-4b9c-a182-90121faa5e3f" providerId="ADAL" clId="{505DBA85-F3DC-4C0E-83F6-9BB3AF7681BC}" dt="2021-09-07T10:25:48.489" v="0"/>
          <ac:spMkLst>
            <pc:docMk/>
            <pc:sldMk cId="3882376303" sldId="1047"/>
            <ac:spMk id="3" creationId="{5A756D80-BCA6-46EC-BD76-A3424158F74D}"/>
          </ac:spMkLst>
        </pc:spChg>
        <pc:spChg chg="mod">
          <ac:chgData name="Schultz, Marlou" userId="f0660b65-d62e-4b9c-a182-90121faa5e3f" providerId="ADAL" clId="{505DBA85-F3DC-4C0E-83F6-9BB3AF7681BC}" dt="2021-09-07T10:25:48.489" v="0"/>
          <ac:spMkLst>
            <pc:docMk/>
            <pc:sldMk cId="3882376303" sldId="1047"/>
            <ac:spMk id="4" creationId="{7081B9EA-D5FD-4DD1-A6D8-C3C5CEFAA573}"/>
          </ac:spMkLst>
        </pc:spChg>
      </pc:sldChg>
      <pc:sldChg chg="modSp add del">
        <pc:chgData name="Schultz, Marlou" userId="f0660b65-d62e-4b9c-a182-90121faa5e3f" providerId="ADAL" clId="{505DBA85-F3DC-4C0E-83F6-9BB3AF7681BC}" dt="2021-09-07T10:27:11.441" v="37" actId="2696"/>
        <pc:sldMkLst>
          <pc:docMk/>
          <pc:sldMk cId="3182634831" sldId="1048"/>
        </pc:sldMkLst>
        <pc:spChg chg="mod">
          <ac:chgData name="Schultz, Marlou" userId="f0660b65-d62e-4b9c-a182-90121faa5e3f" providerId="ADAL" clId="{505DBA85-F3DC-4C0E-83F6-9BB3AF7681BC}" dt="2021-09-07T10:25:48.489" v="0"/>
          <ac:spMkLst>
            <pc:docMk/>
            <pc:sldMk cId="3182634831" sldId="1048"/>
            <ac:spMk id="5" creationId="{7467970E-04BB-4B0E-B16F-66F95AE2D81D}"/>
          </ac:spMkLst>
        </pc:spChg>
        <pc:spChg chg="mod">
          <ac:chgData name="Schultz, Marlou" userId="f0660b65-d62e-4b9c-a182-90121faa5e3f" providerId="ADAL" clId="{505DBA85-F3DC-4C0E-83F6-9BB3AF7681BC}" dt="2021-09-07T10:25:48.489" v="0"/>
          <ac:spMkLst>
            <pc:docMk/>
            <pc:sldMk cId="3182634831" sldId="1048"/>
            <ac:spMk id="6" creationId="{C74C51FB-C596-44B7-ABE2-886C72B657F8}"/>
          </ac:spMkLst>
        </pc:spChg>
        <pc:spChg chg="mod">
          <ac:chgData name="Schultz, Marlou" userId="f0660b65-d62e-4b9c-a182-90121faa5e3f" providerId="ADAL" clId="{505DBA85-F3DC-4C0E-83F6-9BB3AF7681BC}" dt="2021-09-07T10:25:48.489" v="0"/>
          <ac:spMkLst>
            <pc:docMk/>
            <pc:sldMk cId="3182634831" sldId="1048"/>
            <ac:spMk id="7" creationId="{F0FA6EE0-432C-441F-BCF8-8645021D6957}"/>
          </ac:spMkLst>
        </pc:spChg>
        <pc:spChg chg="mod">
          <ac:chgData name="Schultz, Marlou" userId="f0660b65-d62e-4b9c-a182-90121faa5e3f" providerId="ADAL" clId="{505DBA85-F3DC-4C0E-83F6-9BB3AF7681BC}" dt="2021-09-07T10:25:48.489" v="0"/>
          <ac:spMkLst>
            <pc:docMk/>
            <pc:sldMk cId="3182634831" sldId="1048"/>
            <ac:spMk id="8" creationId="{1FBA5072-B2D5-4885-8305-0D72996D056B}"/>
          </ac:spMkLst>
        </pc:spChg>
      </pc:sldChg>
      <pc:sldChg chg="modSp">
        <pc:chgData name="Schultz, Marlou" userId="f0660b65-d62e-4b9c-a182-90121faa5e3f" providerId="ADAL" clId="{505DBA85-F3DC-4C0E-83F6-9BB3AF7681BC}" dt="2021-09-07T10:25:48.489" v="0"/>
        <pc:sldMkLst>
          <pc:docMk/>
          <pc:sldMk cId="1176558560" sldId="1049"/>
        </pc:sldMkLst>
        <pc:spChg chg="mod">
          <ac:chgData name="Schultz, Marlou" userId="f0660b65-d62e-4b9c-a182-90121faa5e3f" providerId="ADAL" clId="{505DBA85-F3DC-4C0E-83F6-9BB3AF7681BC}" dt="2021-09-07T10:25:48.489" v="0"/>
          <ac:spMkLst>
            <pc:docMk/>
            <pc:sldMk cId="1176558560" sldId="1049"/>
            <ac:spMk id="2" creationId="{7F6791E4-6CE7-49C3-9299-C90FEB4C952F}"/>
          </ac:spMkLst>
        </pc:spChg>
      </pc:sldChg>
      <pc:sldChg chg="addSp delSp modSp mod chgLayout">
        <pc:chgData name="Schultz, Marlou" userId="f0660b65-d62e-4b9c-a182-90121faa5e3f" providerId="ADAL" clId="{505DBA85-F3DC-4C0E-83F6-9BB3AF7681BC}" dt="2021-09-07T10:26:47.967" v="33" actId="700"/>
        <pc:sldMkLst>
          <pc:docMk/>
          <pc:sldMk cId="966573190" sldId="1052"/>
        </pc:sldMkLst>
        <pc:spChg chg="add mod ord">
          <ac:chgData name="Schultz, Marlou" userId="f0660b65-d62e-4b9c-a182-90121faa5e3f" providerId="ADAL" clId="{505DBA85-F3DC-4C0E-83F6-9BB3AF7681BC}" dt="2021-09-07T10:26:47.967" v="33" actId="700"/>
          <ac:spMkLst>
            <pc:docMk/>
            <pc:sldMk cId="966573190" sldId="1052"/>
            <ac:spMk id="2" creationId="{5C9B3386-1486-4AFF-9679-110494063356}"/>
          </ac:spMkLst>
        </pc:spChg>
        <pc:spChg chg="add mod ord">
          <ac:chgData name="Schultz, Marlou" userId="f0660b65-d62e-4b9c-a182-90121faa5e3f" providerId="ADAL" clId="{505DBA85-F3DC-4C0E-83F6-9BB3AF7681BC}" dt="2021-09-07T10:26:47.967" v="33" actId="700"/>
          <ac:spMkLst>
            <pc:docMk/>
            <pc:sldMk cId="966573190" sldId="1052"/>
            <ac:spMk id="3" creationId="{9DC3BB3C-10D9-4152-854A-4B31332E4997}"/>
          </ac:spMkLst>
        </pc:spChg>
        <pc:spChg chg="del mod">
          <ac:chgData name="Schultz, Marlou" userId="f0660b65-d62e-4b9c-a182-90121faa5e3f" providerId="ADAL" clId="{505DBA85-F3DC-4C0E-83F6-9BB3AF7681BC}" dt="2021-09-07T10:26:47.967" v="33" actId="700"/>
          <ac:spMkLst>
            <pc:docMk/>
            <pc:sldMk cId="966573190" sldId="1052"/>
            <ac:spMk id="5" creationId="{B67F3234-226D-4360-B33F-63276B9C5101}"/>
          </ac:spMkLst>
        </pc:spChg>
        <pc:spChg chg="del mod">
          <ac:chgData name="Schultz, Marlou" userId="f0660b65-d62e-4b9c-a182-90121faa5e3f" providerId="ADAL" clId="{505DBA85-F3DC-4C0E-83F6-9BB3AF7681BC}" dt="2021-09-07T10:26:47.967" v="33" actId="700"/>
          <ac:spMkLst>
            <pc:docMk/>
            <pc:sldMk cId="966573190" sldId="1052"/>
            <ac:spMk id="6" creationId="{26B79EC2-5AC6-4D80-8AB0-9E96103E3FFE}"/>
          </ac:spMkLst>
        </pc:spChg>
      </pc:sldChg>
      <pc:sldChg chg="mod chgLayout">
        <pc:chgData name="Schultz, Marlou" userId="f0660b65-d62e-4b9c-a182-90121faa5e3f" providerId="ADAL" clId="{505DBA85-F3DC-4C0E-83F6-9BB3AF7681BC}" dt="2021-09-07T10:26:52.769" v="34" actId="700"/>
        <pc:sldMkLst>
          <pc:docMk/>
          <pc:sldMk cId="1663468128" sldId="1053"/>
        </pc:sldMkLst>
      </pc:sldChg>
      <pc:sldChg chg="addSp modSp mod modClrScheme chgLayout">
        <pc:chgData name="Schultz, Marlou" userId="f0660b65-d62e-4b9c-a182-90121faa5e3f" providerId="ADAL" clId="{505DBA85-F3DC-4C0E-83F6-9BB3AF7681BC}" dt="2021-09-07T10:26:57.758" v="35" actId="700"/>
        <pc:sldMkLst>
          <pc:docMk/>
          <pc:sldMk cId="2514371823" sldId="1054"/>
        </pc:sldMkLst>
        <pc:spChg chg="add mod">
          <ac:chgData name="Schultz, Marlou" userId="f0660b65-d62e-4b9c-a182-90121faa5e3f" providerId="ADAL" clId="{505DBA85-F3DC-4C0E-83F6-9BB3AF7681BC}" dt="2021-09-07T10:26:57.758" v="35" actId="700"/>
          <ac:spMkLst>
            <pc:docMk/>
            <pc:sldMk cId="2514371823" sldId="1054"/>
            <ac:spMk id="2" creationId="{615BB5A4-1DAF-4D4C-A550-73B9CA6DD3ED}"/>
          </ac:spMkLst>
        </pc:spChg>
      </pc:sldChg>
      <pc:sldChg chg="modSp del">
        <pc:chgData name="Schultz, Marlou" userId="f0660b65-d62e-4b9c-a182-90121faa5e3f" providerId="ADAL" clId="{505DBA85-F3DC-4C0E-83F6-9BB3AF7681BC}" dt="2021-09-07T10:27:22.147" v="38" actId="2696"/>
        <pc:sldMkLst>
          <pc:docMk/>
          <pc:sldMk cId="301994707" sldId="1057"/>
        </pc:sldMkLst>
        <pc:spChg chg="mod">
          <ac:chgData name="Schultz, Marlou" userId="f0660b65-d62e-4b9c-a182-90121faa5e3f" providerId="ADAL" clId="{505DBA85-F3DC-4C0E-83F6-9BB3AF7681BC}" dt="2021-09-07T10:25:48.489" v="0"/>
          <ac:spMkLst>
            <pc:docMk/>
            <pc:sldMk cId="301994707" sldId="1057"/>
            <ac:spMk id="6" creationId="{D4EB043A-5961-49E3-8BB3-07C9B3BFFB91}"/>
          </ac:spMkLst>
        </pc:spChg>
      </pc:sldChg>
      <pc:sldMasterChg chg="modSp mod delSldLayout">
        <pc:chgData name="Schultz, Marlou" userId="f0660b65-d62e-4b9c-a182-90121faa5e3f" providerId="ADAL" clId="{505DBA85-F3DC-4C0E-83F6-9BB3AF7681BC}" dt="2021-09-07T10:27:22.147" v="38" actId="2696"/>
        <pc:sldMasterMkLst>
          <pc:docMk/>
          <pc:sldMasterMk cId="3332273510" sldId="2147483723"/>
        </pc:sldMasterMkLst>
        <pc:spChg chg="mod">
          <ac:chgData name="Schultz, Marlou" userId="f0660b65-d62e-4b9c-a182-90121faa5e3f" providerId="ADAL" clId="{505DBA85-F3DC-4C0E-83F6-9BB3AF7681BC}" dt="2021-09-07T10:26:20.596" v="32" actId="20577"/>
          <ac:spMkLst>
            <pc:docMk/>
            <pc:sldMasterMk cId="3332273510" sldId="2147483723"/>
            <ac:spMk id="65" creationId="{5B538C81-213B-41EC-BB81-FEF313C9D880}"/>
          </ac:spMkLst>
        </pc:spChg>
        <pc:sldLayoutChg chg="del">
          <pc:chgData name="Schultz, Marlou" userId="f0660b65-d62e-4b9c-a182-90121faa5e3f" providerId="ADAL" clId="{505DBA85-F3DC-4C0E-83F6-9BB3AF7681BC}" dt="2021-09-07T10:27:22.147" v="38" actId="2696"/>
          <pc:sldLayoutMkLst>
            <pc:docMk/>
            <pc:sldMasterMk cId="3332273510" sldId="2147483723"/>
            <pc:sldLayoutMk cId="2550260915" sldId="2147483755"/>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hyperlink" Target="mailto:NLMicrosoftnieuwsbriefredactie@capgemini.onmicrosoft.com" TargetMode="External"/><Relationship Id="rId5" Type="http://schemas.openxmlformats.org/officeDocument/2006/relationships/hyperlink" Target="https://capgemini.sharepoint.com/sites/NLMicrosoft" TargetMode="External"/><Relationship Id="rId4" Type="http://schemas.openxmlformats.org/officeDocument/2006/relationships/hyperlink" Target="https://chat.whatsapp.com/BhAJ1vKGSGlIELjvFxR13u" TargetMode="Externa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4.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5" Type="http://schemas.openxmlformats.org/officeDocument/2006/relationships/image" Target="../media/image3.sv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 Id="rId1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hyperlink" Target="http://www.youtube.com/capgeminimedia" TargetMode="External"/><Relationship Id="rId18" Type="http://schemas.openxmlformats.org/officeDocument/2006/relationships/image" Target="../media/image2.png"/><Relationship Id="rId3" Type="http://schemas.openxmlformats.org/officeDocument/2006/relationships/tags" Target="../tags/tag9.xml"/><Relationship Id="rId7" Type="http://schemas.openxmlformats.org/officeDocument/2006/relationships/hyperlink" Target="http://www.linkedin.com/company/capgemini" TargetMode="External"/><Relationship Id="rId12" Type="http://schemas.openxmlformats.org/officeDocument/2006/relationships/image" Target="../media/image7.png"/><Relationship Id="rId17" Type="http://schemas.openxmlformats.org/officeDocument/2006/relationships/image" Target="../media/image4.png"/><Relationship Id="rId2" Type="http://schemas.openxmlformats.org/officeDocument/2006/relationships/tags" Target="../tags/tag8.xml"/><Relationship Id="rId16" Type="http://schemas.openxmlformats.org/officeDocument/2006/relationships/image" Target="../media/image9.png"/><Relationship Id="rId1" Type="http://schemas.openxmlformats.org/officeDocument/2006/relationships/tags" Target="../tags/tag7.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6.png"/><Relationship Id="rId19" Type="http://schemas.openxmlformats.org/officeDocument/2006/relationships/image" Target="../media/image3.svg"/><Relationship Id="rId4" Type="http://schemas.openxmlformats.org/officeDocument/2006/relationships/tags" Target="../tags/tag10.xml"/><Relationship Id="rId9" Type="http://schemas.openxmlformats.org/officeDocument/2006/relationships/hyperlink" Target="http://www.slideshare.net/capgemini" TargetMode="External"/><Relationship Id="rId1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hyperlink" Target="mailto:NLMicrosoftnieuwsbriefredactie@capgemini.onmicrosoft.com" TargetMode="Externa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ech Talk Titl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1053" y="3961483"/>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2227811" y="3058144"/>
            <a:ext cx="9563135" cy="1015663"/>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subject]</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pic>
        <p:nvPicPr>
          <p:cNvPr id="7" name="Graphic 6">
            <a:extLst>
              <a:ext uri="{FF2B5EF4-FFF2-40B4-BE49-F238E27FC236}">
                <a16:creationId xmlns:a16="http://schemas.microsoft.com/office/drawing/2014/main" id="{E956012A-291F-4FCA-A9CA-8E2E1C544DC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357371" y="1134636"/>
            <a:ext cx="484833" cy="484833"/>
          </a:xfrm>
          <a:prstGeom prst="rect">
            <a:avLst/>
          </a:prstGeom>
        </p:spPr>
      </p:pic>
      <p:sp>
        <p:nvSpPr>
          <p:cNvPr id="8" name="TextBox 7">
            <a:extLst>
              <a:ext uri="{FF2B5EF4-FFF2-40B4-BE49-F238E27FC236}">
                <a16:creationId xmlns:a16="http://schemas.microsoft.com/office/drawing/2014/main" id="{27AFB3F6-83E9-483F-925C-1094B12B4A33}"/>
              </a:ext>
            </a:extLst>
          </p:cNvPr>
          <p:cNvSpPr txBox="1"/>
          <p:nvPr userDrawn="1"/>
        </p:nvSpPr>
        <p:spPr>
          <a:xfrm>
            <a:off x="9270771" y="1183815"/>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
        <p:nvSpPr>
          <p:cNvPr id="9" name="Espace réservé du texte 15">
            <a:extLst>
              <a:ext uri="{FF2B5EF4-FFF2-40B4-BE49-F238E27FC236}">
                <a16:creationId xmlns:a16="http://schemas.microsoft.com/office/drawing/2014/main" id="{8D775897-05D9-4BF6-A153-992DB8FC69C1}"/>
              </a:ext>
            </a:extLst>
          </p:cNvPr>
          <p:cNvSpPr txBox="1">
            <a:spLocks/>
          </p:cNvSpPr>
          <p:nvPr userDrawn="1"/>
        </p:nvSpPr>
        <p:spPr>
          <a:xfrm>
            <a:off x="6234544" y="4887884"/>
            <a:ext cx="5957455" cy="1970117"/>
          </a:xfrm>
          <a:prstGeom prst="rect">
            <a:avLst/>
          </a:prstGeom>
        </p:spPr>
        <p:txBody>
          <a:bodyPr>
            <a:normAutofit lnSpcReduction="10000"/>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lease turn off your camera and microphone</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sk your questions or suggestions in the cha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 moderator will monitor the cha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This session will be recorded and posted on our SharePoint</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We will start at 12:01. Room for discussion at the end.</a:t>
            </a:r>
          </a:p>
        </p:txBody>
      </p:sp>
      <p:sp>
        <p:nvSpPr>
          <p:cNvPr id="10" name="Espace réservé du texte 15">
            <a:extLst>
              <a:ext uri="{FF2B5EF4-FFF2-40B4-BE49-F238E27FC236}">
                <a16:creationId xmlns:a16="http://schemas.microsoft.com/office/drawing/2014/main" id="{3A92EC2F-FACF-4488-B54C-92FD2B9C3A8A}"/>
              </a:ext>
            </a:extLst>
          </p:cNvPr>
          <p:cNvSpPr txBox="1">
            <a:spLocks/>
          </p:cNvSpPr>
          <p:nvPr userDrawn="1"/>
        </p:nvSpPr>
        <p:spPr>
          <a:xfrm>
            <a:off x="348794" y="2016925"/>
            <a:ext cx="7672988" cy="1130482"/>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Tech Talk:</a:t>
            </a:r>
          </a:p>
        </p:txBody>
      </p:sp>
    </p:spTree>
    <p:extLst>
      <p:ext uri="{BB962C8B-B14F-4D97-AF65-F5344CB8AC3E}">
        <p14:creationId xmlns:p14="http://schemas.microsoft.com/office/powerpoint/2010/main" val="390198061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285454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234139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95493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4138476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015767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4813" y="2423886"/>
            <a:ext cx="3524250" cy="404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Ubuntu"/>
              <a:ea typeface="+mn-ea"/>
              <a:cs typeface="+mn-cs"/>
            </a:endParaRPr>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3"/>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chemeClr val="accent2"/>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92D05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3"/>
              </a:buClr>
              <a:defRPr sz="1400"/>
            </a:lvl2pPr>
            <a:lvl3pPr>
              <a:lnSpc>
                <a:spcPct val="100000"/>
              </a:lnSpc>
              <a:spcBef>
                <a:spcPts val="0"/>
              </a:spcBef>
              <a:buClr>
                <a:schemeClr val="accent3"/>
              </a:buClr>
              <a:defRPr sz="1400"/>
            </a:lvl3pPr>
            <a:lvl4pPr>
              <a:lnSpc>
                <a:spcPct val="100000"/>
              </a:lnSpc>
              <a:spcBef>
                <a:spcPts val="0"/>
              </a:spcBef>
              <a:buClr>
                <a:schemeClr val="accent3"/>
              </a:buClr>
              <a:defRPr sz="1400"/>
            </a:lvl4pPr>
            <a:lvl5pPr>
              <a:lnSpc>
                <a:spcPct val="100000"/>
              </a:lnSpc>
              <a:spcBef>
                <a:spcPts val="0"/>
              </a:spcBef>
              <a:buClr>
                <a:schemeClr val="accent3"/>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2"/>
              </a:buClr>
              <a:defRPr sz="1400"/>
            </a:lvl2pPr>
            <a:lvl3pPr>
              <a:lnSpc>
                <a:spcPct val="100000"/>
              </a:lnSpc>
              <a:spcBef>
                <a:spcPts val="0"/>
              </a:spcBef>
              <a:buClr>
                <a:schemeClr val="accent2"/>
              </a:buClr>
              <a:defRPr sz="1400"/>
            </a:lvl3pPr>
            <a:lvl4pPr>
              <a:lnSpc>
                <a:spcPct val="100000"/>
              </a:lnSpc>
              <a:spcBef>
                <a:spcPts val="0"/>
              </a:spcBef>
              <a:buClr>
                <a:schemeClr val="accent2"/>
              </a:buClr>
              <a:defRPr sz="1400"/>
            </a:lvl4pPr>
            <a:lvl5pPr>
              <a:lnSpc>
                <a:spcPct val="100000"/>
              </a:lnSpc>
              <a:spcBef>
                <a:spcPts val="0"/>
              </a:spcBef>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92D050"/>
              </a:buClr>
              <a:defRPr sz="1400"/>
            </a:lvl2pPr>
            <a:lvl3pPr>
              <a:lnSpc>
                <a:spcPct val="100000"/>
              </a:lnSpc>
              <a:spcBef>
                <a:spcPts val="0"/>
              </a:spcBef>
              <a:buClr>
                <a:srgbClr val="92D050"/>
              </a:buClr>
              <a:defRPr sz="1400"/>
            </a:lvl3pPr>
            <a:lvl4pPr>
              <a:lnSpc>
                <a:spcPct val="100000"/>
              </a:lnSpc>
              <a:spcBef>
                <a:spcPts val="0"/>
              </a:spcBef>
              <a:buClr>
                <a:srgbClr val="92D050"/>
              </a:buClr>
              <a:defRPr sz="1400"/>
            </a:lvl4pPr>
            <a:lvl5pPr>
              <a:lnSpc>
                <a:spcPct val="100000"/>
              </a:lnSpc>
              <a:spcBef>
                <a:spcPts val="0"/>
              </a:spcBef>
              <a:buClr>
                <a:srgbClr val="92D050"/>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664110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6898981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sp>
        <p:nvSpPr>
          <p:cNvPr id="7" name="Graphic 13">
            <a:extLst>
              <a:ext uri="{FF2B5EF4-FFF2-40B4-BE49-F238E27FC236}">
                <a16:creationId xmlns:a16="http://schemas.microsoft.com/office/drawing/2014/main" id="{35A55A52-0610-4CE8-84FF-3BBF00357CAC}"/>
              </a:ext>
            </a:extLst>
          </p:cNvPr>
          <p:cNvSpPr>
            <a:spLocks noChangeAspect="1"/>
          </p:cNvSpPr>
          <p:nvPr userDrawn="1"/>
        </p:nvSpPr>
        <p:spPr>
          <a:xfrm rot="1047803">
            <a:off x="2843395" y="-1037033"/>
            <a:ext cx="9366678" cy="4626767"/>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699835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6363066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dirty="0"/>
              <a:t>Click to edit Master title style</a:t>
            </a:r>
            <a:endParaRPr lang="de-DE" dirty="0"/>
          </a:p>
        </p:txBody>
      </p:sp>
    </p:spTree>
    <p:extLst>
      <p:ext uri="{BB962C8B-B14F-4D97-AF65-F5344CB8AC3E}">
        <p14:creationId xmlns:p14="http://schemas.microsoft.com/office/powerpoint/2010/main" val="4397303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bout Us">
    <p:bg>
      <p:bgPr>
        <a:solidFill>
          <a:schemeClr val="accent4"/>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74244BF-5369-43C1-843A-CA70B48233B4}"/>
              </a:ext>
            </a:extLst>
          </p:cNvPr>
          <p:cNvSpPr>
            <a:spLocks/>
          </p:cNvSpPr>
          <p:nvPr userDrawn="1"/>
        </p:nvSpPr>
        <p:spPr>
          <a:xfrm rot="816094">
            <a:off x="560459" y="-2525492"/>
            <a:ext cx="11315774" cy="7927231"/>
          </a:xfrm>
          <a:custGeom>
            <a:avLst/>
            <a:gdLst>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9773193 w 11315774"/>
              <a:gd name="connsiteY13" fmla="*/ 104236 h 7927231"/>
              <a:gd name="connsiteX14" fmla="*/ 11110394 w 11315774"/>
              <a:gd name="connsiteY14" fmla="*/ 12104 h 7927231"/>
              <a:gd name="connsiteX15" fmla="*/ 11100372 w 11315774"/>
              <a:gd name="connsiteY15" fmla="*/ 76731 h 7927231"/>
              <a:gd name="connsiteX16" fmla="*/ 9442404 w 11315774"/>
              <a:gd name="connsiteY16" fmla="*/ 333622 h 7927231"/>
              <a:gd name="connsiteX17" fmla="*/ 9229072 w 11315774"/>
              <a:gd name="connsiteY17" fmla="*/ 2107618 h 7927231"/>
              <a:gd name="connsiteX18" fmla="*/ 9300660 w 11315774"/>
              <a:gd name="connsiteY18" fmla="*/ 3501935 h 7927231"/>
              <a:gd name="connsiteX19" fmla="*/ 8818160 w 11315774"/>
              <a:gd name="connsiteY19" fmla="*/ 4398626 h 7927231"/>
              <a:gd name="connsiteX20" fmla="*/ 8640060 w 11315774"/>
              <a:gd name="connsiteY20" fmla="*/ 4536131 h 7927231"/>
              <a:gd name="connsiteX21" fmla="*/ 8630442 w 11315774"/>
              <a:gd name="connsiteY21" fmla="*/ 4541520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40060 w 11315774"/>
              <a:gd name="connsiteY21" fmla="*/ 4536131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81003 w 11315774"/>
              <a:gd name="connsiteY4" fmla="*/ 4154465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15774" h="7927231">
                <a:moveTo>
                  <a:pt x="3940181" y="3648959"/>
                </a:moveTo>
                <a:lnTo>
                  <a:pt x="3951635" y="3655422"/>
                </a:lnTo>
                <a:cubicBezTo>
                  <a:pt x="4200044" y="3800832"/>
                  <a:pt x="4447558" y="3933316"/>
                  <a:pt x="4692544" y="4052244"/>
                </a:cubicBezTo>
                <a:lnTo>
                  <a:pt x="4776814" y="4076398"/>
                </a:lnTo>
                <a:lnTo>
                  <a:pt x="4781003" y="4154465"/>
                </a:lnTo>
                <a:lnTo>
                  <a:pt x="4680979" y="4117577"/>
                </a:lnTo>
                <a:cubicBezTo>
                  <a:pt x="4435478" y="3998852"/>
                  <a:pt x="4187516" y="3866671"/>
                  <a:pt x="3938750" y="3721665"/>
                </a:cubicBezTo>
                <a:cubicBezTo>
                  <a:pt x="2366687" y="4408320"/>
                  <a:pt x="1394526" y="5515049"/>
                  <a:pt x="854757" y="6321263"/>
                </a:cubicBezTo>
                <a:cubicBezTo>
                  <a:pt x="270602" y="7196952"/>
                  <a:pt x="55839" y="7919153"/>
                  <a:pt x="54407" y="7927231"/>
                </a:cubicBezTo>
                <a:lnTo>
                  <a:pt x="0" y="7906228"/>
                </a:lnTo>
                <a:cubicBezTo>
                  <a:pt x="1433" y="7898149"/>
                  <a:pt x="219059" y="7166255"/>
                  <a:pt x="808941" y="6280873"/>
                </a:cubicBezTo>
                <a:cubicBezTo>
                  <a:pt x="1155425" y="5760629"/>
                  <a:pt x="1560610" y="5290471"/>
                  <a:pt x="2014476" y="4883324"/>
                </a:cubicBezTo>
                <a:cubicBezTo>
                  <a:pt x="2581450" y="4372775"/>
                  <a:pt x="3225738" y="3959166"/>
                  <a:pt x="3928727" y="3653807"/>
                </a:cubicBezTo>
                <a:lnTo>
                  <a:pt x="3940181" y="3648959"/>
                </a:lnTo>
                <a:close/>
                <a:moveTo>
                  <a:pt x="9773193" y="104236"/>
                </a:moveTo>
                <a:cubicBezTo>
                  <a:pt x="10234430" y="-12130"/>
                  <a:pt x="10898316" y="38157"/>
                  <a:pt x="11110394" y="12104"/>
                </a:cubicBezTo>
                <a:cubicBezTo>
                  <a:pt x="11393165" y="-22633"/>
                  <a:pt x="11378371" y="23145"/>
                  <a:pt x="11100372" y="76731"/>
                </a:cubicBezTo>
                <a:cubicBezTo>
                  <a:pt x="10822374" y="130316"/>
                  <a:pt x="9846158" y="-70293"/>
                  <a:pt x="9442404" y="333622"/>
                </a:cubicBezTo>
                <a:cubicBezTo>
                  <a:pt x="9107374" y="669680"/>
                  <a:pt x="9035786" y="1267474"/>
                  <a:pt x="9229072" y="2107618"/>
                </a:cubicBezTo>
                <a:cubicBezTo>
                  <a:pt x="9352203" y="2642401"/>
                  <a:pt x="9376543" y="3110943"/>
                  <a:pt x="9300660" y="3501935"/>
                </a:cubicBezTo>
                <a:cubicBezTo>
                  <a:pt x="9227641" y="3873537"/>
                  <a:pt x="9031125" y="4208542"/>
                  <a:pt x="8817040" y="4393998"/>
                </a:cubicBezTo>
                <a:cubicBezTo>
                  <a:pt x="8775303" y="4430153"/>
                  <a:pt x="8719063" y="4457638"/>
                  <a:pt x="8698818" y="4486594"/>
                </a:cubicBezTo>
                <a:lnTo>
                  <a:pt x="8614274" y="4474698"/>
                </a:lnTo>
                <a:lnTo>
                  <a:pt x="8780934" y="4346925"/>
                </a:lnTo>
                <a:cubicBezTo>
                  <a:pt x="9272025" y="3905850"/>
                  <a:pt x="9406609" y="3136794"/>
                  <a:pt x="9173234" y="2123775"/>
                </a:cubicBezTo>
                <a:cubicBezTo>
                  <a:pt x="8972789" y="1257780"/>
                  <a:pt x="9050104" y="638981"/>
                  <a:pt x="9403746" y="285152"/>
                </a:cubicBezTo>
                <a:cubicBezTo>
                  <a:pt x="9488219" y="200330"/>
                  <a:pt x="9619448" y="143024"/>
                  <a:pt x="9773193" y="104236"/>
                </a:cubicBezTo>
                <a:close/>
              </a:path>
            </a:pathLst>
          </a:custGeom>
          <a:gradFill>
            <a:gsLst>
              <a:gs pos="81000">
                <a:schemeClr val="accent2">
                  <a:alpha val="0"/>
                </a:schemeClr>
              </a:gs>
              <a:gs pos="32000">
                <a:srgbClr val="12ABDB">
                  <a:alpha val="17000"/>
                </a:srgbClr>
              </a:gs>
              <a:gs pos="17000">
                <a:schemeClr val="accent2">
                  <a:alpha val="0"/>
                </a:schemeClr>
              </a:gs>
              <a:gs pos="49000">
                <a:srgbClr val="12ABDB"/>
              </a:gs>
            </a:gsLst>
            <a:lin ang="16200000" scaled="0"/>
          </a:gra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pic>
        <p:nvPicPr>
          <p:cNvPr id="5" name="Graphic 4">
            <a:extLst>
              <a:ext uri="{FF2B5EF4-FFF2-40B4-BE49-F238E27FC236}">
                <a16:creationId xmlns:a16="http://schemas.microsoft.com/office/drawing/2014/main" id="{E6A96607-418E-4F29-A67C-C13DE5DBFB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36771" y="0"/>
            <a:ext cx="6855229" cy="6855229"/>
          </a:xfrm>
          <a:prstGeom prst="rect">
            <a:avLst/>
          </a:prstGeom>
        </p:spPr>
      </p:pic>
      <p:sp>
        <p:nvSpPr>
          <p:cNvPr id="12" name="Espace réservé du texte 15">
            <a:extLst>
              <a:ext uri="{FF2B5EF4-FFF2-40B4-BE49-F238E27FC236}">
                <a16:creationId xmlns:a16="http://schemas.microsoft.com/office/drawing/2014/main" id="{FEA3E29E-2990-4C6E-A649-7CA0DCCDC4F8}"/>
              </a:ext>
            </a:extLst>
          </p:cNvPr>
          <p:cNvSpPr txBox="1">
            <a:spLocks/>
          </p:cNvSpPr>
          <p:nvPr userDrawn="1"/>
        </p:nvSpPr>
        <p:spPr>
          <a:xfrm>
            <a:off x="404813" y="3589665"/>
            <a:ext cx="4562476" cy="2808288"/>
          </a:xfrm>
          <a:prstGeom prst="rect">
            <a:avLst/>
          </a:prstGeom>
        </p:spPr>
        <p:txBody>
          <a:bodyPr>
            <a:normAutofit fontScale="62500" lnSpcReduction="20000"/>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onnects Microsoft engineers across all Dutch practices: </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MS, CIS, CSD, DCX, I&amp;D, FS</a:t>
            </a: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endPar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Our platform:</a:t>
            </a:r>
          </a:p>
          <a:p>
            <a:pPr marL="361950" marR="0" lvl="2" indent="-18415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WhatsApp:</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hlinkClick r:id="rId4">
                  <a:extLst>
                    <a:ext uri="{A12FA001-AC4F-418D-AE19-62706E023703}">
                      <ahyp:hlinkClr xmlns:ahyp="http://schemas.microsoft.com/office/drawing/2018/hyperlinkcolor" val="tx"/>
                    </a:ext>
                  </a:extLst>
                </a:hlinkClick>
              </a:rPr>
              <a:t>https://chat.whatsapp.com/BhAJ1vKGSGlIELjvFxR13u</a:t>
            </a:r>
            <a:endPar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endParaRPr>
          </a:p>
          <a:p>
            <a:pPr marL="361950" marR="0" lvl="2" indent="-18415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SharePoint and Teams: </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hlinkClick r:id="rId5">
                  <a:extLst>
                    <a:ext uri="{A12FA001-AC4F-418D-AE19-62706E023703}">
                      <ahyp:hlinkClr xmlns:ahyp="http://schemas.microsoft.com/office/drawing/2018/hyperlinkcolor" val="tx"/>
                    </a:ext>
                  </a:extLst>
                </a:hlinkClick>
              </a:rPr>
              <a:t>https://capgemini.sharepoint.com/sites/nlmicrosoft</a:t>
            </a:r>
          </a:p>
          <a:p>
            <a:pPr marL="184150" marR="0" lvl="2" indent="0" algn="l" defTabSz="914400" rtl="0" eaLnBrk="1" fontAlgn="auto" latinLnBrk="0" hangingPunct="1">
              <a:lnSpc>
                <a:spcPct val="100000"/>
              </a:lnSpc>
              <a:spcBef>
                <a:spcPts val="0"/>
              </a:spcBef>
              <a:spcAft>
                <a:spcPts val="600"/>
              </a:spcAft>
              <a:buClr>
                <a:srgbClr val="12ABDB"/>
              </a:buClr>
              <a:buSzTx/>
              <a:buFont typeface="Arial" panose="020B0604020202020204" pitchFamily="34" charset="0"/>
              <a:buNone/>
              <a:tabLst/>
              <a:defRPr/>
            </a:pPr>
            <a:endPar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177800" marR="0" lvl="1" indent="-17780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Char char="§"/>
              <a:tabLst/>
              <a:defRPr/>
            </a:pP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We are always looking for people who would like to share their knowledge. </a:t>
            </a:r>
            <a:b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Reach out to the redaction team: </a:t>
            </a:r>
            <a:br>
              <a:rPr kumimoji="0" lang="en-US" sz="1900" b="0" i="0" u="none" strike="noStrike" kern="1200" cap="none" spc="0" normalizeH="0" baseline="0" noProof="0">
                <a:ln>
                  <a:noFill/>
                </a:ln>
                <a:solidFill>
                  <a:prstClr val="black"/>
                </a:solidFill>
                <a:effectLst/>
                <a:uLnTx/>
                <a:uFillTx/>
                <a:latin typeface="Ubuntu" panose="020B0504030602030204" pitchFamily="34" charset="0"/>
                <a:ea typeface="+mn-ea"/>
                <a:cs typeface="+mn-cs"/>
              </a:rPr>
            </a:br>
            <a:r>
              <a:rPr kumimoji="0" lang="en-US" sz="1900" b="0" i="0" u="none" strike="noStrike" kern="1200" cap="none" spc="0" normalizeH="0" baseline="0" noProof="0">
                <a:ln>
                  <a:noFill/>
                </a:ln>
                <a:solidFill>
                  <a:srgbClr val="12ABDB"/>
                </a:solidFill>
                <a:effectLst/>
                <a:uLnTx/>
                <a:uFillTx/>
                <a:latin typeface="Ubuntu" panose="020B0504030602030204" pitchFamily="34" charset="0"/>
                <a:ea typeface="+mn-lt"/>
                <a:cs typeface="+mn-lt"/>
                <a:hlinkClick r:id="rId6">
                  <a:extLst>
                    <a:ext uri="{A12FA001-AC4F-418D-AE19-62706E023703}">
                      <ahyp:hlinkClr xmlns:ahyp="http://schemas.microsoft.com/office/drawing/2018/hyperlinkcolor" val="tx"/>
                    </a:ext>
                  </a:extLst>
                </a:hlinkClick>
              </a:rPr>
              <a:t>NLMicrosoftnieuwsbriefredactie@capgemini.onmicrosoft.com</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nl-NL" sz="20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nl-NL" sz="20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13" name="Espace réservé du texte 15">
            <a:extLst>
              <a:ext uri="{FF2B5EF4-FFF2-40B4-BE49-F238E27FC236}">
                <a16:creationId xmlns:a16="http://schemas.microsoft.com/office/drawing/2014/main" id="{94950936-7A6C-43A7-B7FB-0528CD7512CA}"/>
              </a:ext>
            </a:extLst>
          </p:cNvPr>
          <p:cNvSpPr txBox="1">
            <a:spLocks/>
          </p:cNvSpPr>
          <p:nvPr userDrawn="1"/>
        </p:nvSpPr>
        <p:spPr>
          <a:xfrm>
            <a:off x="404813" y="725947"/>
            <a:ext cx="4562476" cy="2421466"/>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5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NL microsoft cop</a:t>
            </a:r>
          </a:p>
        </p:txBody>
      </p:sp>
    </p:spTree>
    <p:extLst>
      <p:ext uri="{BB962C8B-B14F-4D97-AF65-F5344CB8AC3E}">
        <p14:creationId xmlns:p14="http://schemas.microsoft.com/office/powerpoint/2010/main" val="22913392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spTree>
    <p:extLst>
      <p:ext uri="{BB962C8B-B14F-4D97-AF65-F5344CB8AC3E}">
        <p14:creationId xmlns:p14="http://schemas.microsoft.com/office/powerpoint/2010/main" val="324733717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full screen image">
    <p:spTree>
      <p:nvGrpSpPr>
        <p:cNvPr id="1" name=""/>
        <p:cNvGrpSpPr/>
        <p:nvPr/>
      </p:nvGrpSpPr>
      <p:grpSpPr>
        <a:xfrm>
          <a:off x="0" y="0"/>
          <a:ext cx="0" cy="0"/>
          <a:chOff x="0" y="0"/>
          <a:chExt cx="0" cy="0"/>
        </a:xfrm>
      </p:grpSpPr>
      <p:sp>
        <p:nvSpPr>
          <p:cNvPr id="8" name="Picture Placeholder 9">
            <a:extLst>
              <a:ext uri="{FF2B5EF4-FFF2-40B4-BE49-F238E27FC236}">
                <a16:creationId xmlns:a16="http://schemas.microsoft.com/office/drawing/2014/main" id="{097E6017-AD2E-4323-9C64-094FAC4EA146}"/>
              </a:ext>
            </a:extLst>
          </p:cNvPr>
          <p:cNvSpPr>
            <a:spLocks noGrp="1"/>
          </p:cNvSpPr>
          <p:nvPr>
            <p:ph type="pic" sz="quarter" idx="12" hasCustomPrompt="1"/>
          </p:nvPr>
        </p:nvSpPr>
        <p:spPr>
          <a:xfrm>
            <a:off x="0" y="0"/>
            <a:ext cx="12192000" cy="6858000"/>
          </a:xfrm>
          <a:solidFill>
            <a:schemeClr val="accent1"/>
          </a:solidFill>
        </p:spPr>
        <p:txBody>
          <a:bodyPr/>
          <a:lstStyle>
            <a:lvl1pPr>
              <a:defRPr>
                <a:solidFill>
                  <a:schemeClr val="tx1">
                    <a:lumMod val="50000"/>
                    <a:lumOff val="50000"/>
                  </a:schemeClr>
                </a:solidFill>
              </a:defRPr>
            </a:lvl1pPr>
          </a:lstStyle>
          <a:p>
            <a:r>
              <a:rPr lang="de-DE" dirty="0"/>
              <a:t>Insert Picture and send to back</a:t>
            </a:r>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dirty="0"/>
              <a:t>Click to edit Master title style</a:t>
            </a:r>
            <a:endParaRPr lang="en-GB" dirty="0"/>
          </a:p>
        </p:txBody>
      </p:sp>
      <p:pic>
        <p:nvPicPr>
          <p:cNvPr id="9" name="Graphic 8">
            <a:extLst>
              <a:ext uri="{FF2B5EF4-FFF2-40B4-BE49-F238E27FC236}">
                <a16:creationId xmlns:a16="http://schemas.microsoft.com/office/drawing/2014/main" id="{E5BC67E3-B3CD-4ABF-B3E0-BB7787E4422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3137083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RH image 2">
    <p:spTree>
      <p:nvGrpSpPr>
        <p:cNvPr id="1" name=""/>
        <p:cNvGrpSpPr/>
        <p:nvPr/>
      </p:nvGrpSpPr>
      <p:grpSpPr>
        <a:xfrm>
          <a:off x="0" y="0"/>
          <a:ext cx="0" cy="0"/>
          <a:chOff x="0" y="0"/>
          <a:chExt cx="0" cy="0"/>
        </a:xfrm>
      </p:grpSpPr>
      <p:sp>
        <p:nvSpPr>
          <p:cNvPr id="7" name="Picture Placeholder 9">
            <a:extLst>
              <a:ext uri="{FF2B5EF4-FFF2-40B4-BE49-F238E27FC236}">
                <a16:creationId xmlns:a16="http://schemas.microsoft.com/office/drawing/2014/main" id="{A3DDB1E3-DBC2-4BC5-B425-0564EACECF4E}"/>
              </a:ext>
            </a:extLst>
          </p:cNvPr>
          <p:cNvSpPr>
            <a:spLocks noGrp="1"/>
          </p:cNvSpPr>
          <p:nvPr>
            <p:ph type="pic" sz="quarter" idx="12" hasCustomPrompt="1"/>
          </p:nvPr>
        </p:nvSpPr>
        <p:spPr>
          <a:xfrm>
            <a:off x="7223124" y="0"/>
            <a:ext cx="4968876" cy="6858000"/>
          </a:xfrm>
          <a:solidFill>
            <a:schemeClr val="accent1"/>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B97F3C2F-EC40-4BA4-BBBA-49D6AB1DED7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23716573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74244BF-5369-43C1-843A-CA70B48233B4}"/>
              </a:ext>
            </a:extLst>
          </p:cNvPr>
          <p:cNvSpPr>
            <a:spLocks/>
          </p:cNvSpPr>
          <p:nvPr userDrawn="1"/>
        </p:nvSpPr>
        <p:spPr>
          <a:xfrm rot="816094">
            <a:off x="560459" y="-2525492"/>
            <a:ext cx="11315774" cy="7927231"/>
          </a:xfrm>
          <a:custGeom>
            <a:avLst/>
            <a:gdLst>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9773193 w 11315774"/>
              <a:gd name="connsiteY13" fmla="*/ 104236 h 7927231"/>
              <a:gd name="connsiteX14" fmla="*/ 11110394 w 11315774"/>
              <a:gd name="connsiteY14" fmla="*/ 12104 h 7927231"/>
              <a:gd name="connsiteX15" fmla="*/ 11100372 w 11315774"/>
              <a:gd name="connsiteY15" fmla="*/ 76731 h 7927231"/>
              <a:gd name="connsiteX16" fmla="*/ 9442404 w 11315774"/>
              <a:gd name="connsiteY16" fmla="*/ 333622 h 7927231"/>
              <a:gd name="connsiteX17" fmla="*/ 9229072 w 11315774"/>
              <a:gd name="connsiteY17" fmla="*/ 2107618 h 7927231"/>
              <a:gd name="connsiteX18" fmla="*/ 9300660 w 11315774"/>
              <a:gd name="connsiteY18" fmla="*/ 3501935 h 7927231"/>
              <a:gd name="connsiteX19" fmla="*/ 8818160 w 11315774"/>
              <a:gd name="connsiteY19" fmla="*/ 4398626 h 7927231"/>
              <a:gd name="connsiteX20" fmla="*/ 8640060 w 11315774"/>
              <a:gd name="connsiteY20" fmla="*/ 4536131 h 7927231"/>
              <a:gd name="connsiteX21" fmla="*/ 8630442 w 11315774"/>
              <a:gd name="connsiteY21" fmla="*/ 4541520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40060 w 11315774"/>
              <a:gd name="connsiteY21" fmla="*/ 4536131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81003 w 11315774"/>
              <a:gd name="connsiteY4" fmla="*/ 4154465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15774" h="7927231">
                <a:moveTo>
                  <a:pt x="3940181" y="3648959"/>
                </a:moveTo>
                <a:lnTo>
                  <a:pt x="3951635" y="3655422"/>
                </a:lnTo>
                <a:cubicBezTo>
                  <a:pt x="4200044" y="3800832"/>
                  <a:pt x="4447558" y="3933316"/>
                  <a:pt x="4692544" y="4052244"/>
                </a:cubicBezTo>
                <a:lnTo>
                  <a:pt x="4776814" y="4076398"/>
                </a:lnTo>
                <a:lnTo>
                  <a:pt x="4781003" y="4154465"/>
                </a:lnTo>
                <a:lnTo>
                  <a:pt x="4680979" y="4117577"/>
                </a:lnTo>
                <a:cubicBezTo>
                  <a:pt x="4435478" y="3998852"/>
                  <a:pt x="4187516" y="3866671"/>
                  <a:pt x="3938750" y="3721665"/>
                </a:cubicBezTo>
                <a:cubicBezTo>
                  <a:pt x="2366687" y="4408320"/>
                  <a:pt x="1394526" y="5515049"/>
                  <a:pt x="854757" y="6321263"/>
                </a:cubicBezTo>
                <a:cubicBezTo>
                  <a:pt x="270602" y="7196952"/>
                  <a:pt x="55839" y="7919153"/>
                  <a:pt x="54407" y="7927231"/>
                </a:cubicBezTo>
                <a:lnTo>
                  <a:pt x="0" y="7906228"/>
                </a:lnTo>
                <a:cubicBezTo>
                  <a:pt x="1433" y="7898149"/>
                  <a:pt x="219059" y="7166255"/>
                  <a:pt x="808941" y="6280873"/>
                </a:cubicBezTo>
                <a:cubicBezTo>
                  <a:pt x="1155425" y="5760629"/>
                  <a:pt x="1560610" y="5290471"/>
                  <a:pt x="2014476" y="4883324"/>
                </a:cubicBezTo>
                <a:cubicBezTo>
                  <a:pt x="2581450" y="4372775"/>
                  <a:pt x="3225738" y="3959166"/>
                  <a:pt x="3928727" y="3653807"/>
                </a:cubicBezTo>
                <a:lnTo>
                  <a:pt x="3940181" y="3648959"/>
                </a:lnTo>
                <a:close/>
                <a:moveTo>
                  <a:pt x="9773193" y="104236"/>
                </a:moveTo>
                <a:cubicBezTo>
                  <a:pt x="10234430" y="-12130"/>
                  <a:pt x="10898316" y="38157"/>
                  <a:pt x="11110394" y="12104"/>
                </a:cubicBezTo>
                <a:cubicBezTo>
                  <a:pt x="11393165" y="-22633"/>
                  <a:pt x="11378371" y="23145"/>
                  <a:pt x="11100372" y="76731"/>
                </a:cubicBezTo>
                <a:cubicBezTo>
                  <a:pt x="10822374" y="130316"/>
                  <a:pt x="9846158" y="-70293"/>
                  <a:pt x="9442404" y="333622"/>
                </a:cubicBezTo>
                <a:cubicBezTo>
                  <a:pt x="9107374" y="669680"/>
                  <a:pt x="9035786" y="1267474"/>
                  <a:pt x="9229072" y="2107618"/>
                </a:cubicBezTo>
                <a:cubicBezTo>
                  <a:pt x="9352203" y="2642401"/>
                  <a:pt x="9376543" y="3110943"/>
                  <a:pt x="9300660" y="3501935"/>
                </a:cubicBezTo>
                <a:cubicBezTo>
                  <a:pt x="9227641" y="3873537"/>
                  <a:pt x="9031125" y="4208542"/>
                  <a:pt x="8817040" y="4393998"/>
                </a:cubicBezTo>
                <a:cubicBezTo>
                  <a:pt x="8775303" y="4430153"/>
                  <a:pt x="8719063" y="4457638"/>
                  <a:pt x="8698818" y="4486594"/>
                </a:cubicBezTo>
                <a:lnTo>
                  <a:pt x="8614274" y="4474698"/>
                </a:lnTo>
                <a:lnTo>
                  <a:pt x="8780934" y="4346925"/>
                </a:lnTo>
                <a:cubicBezTo>
                  <a:pt x="9272025" y="3905850"/>
                  <a:pt x="9406609" y="3136794"/>
                  <a:pt x="9173234" y="2123775"/>
                </a:cubicBezTo>
                <a:cubicBezTo>
                  <a:pt x="8972789" y="1257780"/>
                  <a:pt x="9050104" y="638981"/>
                  <a:pt x="9403746" y="285152"/>
                </a:cubicBezTo>
                <a:cubicBezTo>
                  <a:pt x="9488219" y="200330"/>
                  <a:pt x="9619448" y="143024"/>
                  <a:pt x="9773193" y="104236"/>
                </a:cubicBezTo>
                <a:close/>
              </a:path>
            </a:pathLst>
          </a:custGeom>
          <a:gradFill>
            <a:gsLst>
              <a:gs pos="81000">
                <a:schemeClr val="accent2">
                  <a:alpha val="0"/>
                </a:schemeClr>
              </a:gs>
              <a:gs pos="32000">
                <a:srgbClr val="12ABDB">
                  <a:alpha val="17000"/>
                </a:srgbClr>
              </a:gs>
              <a:gs pos="17000">
                <a:schemeClr val="accent2">
                  <a:alpha val="0"/>
                </a:schemeClr>
              </a:gs>
              <a:gs pos="49000">
                <a:srgbClr val="12ABDB"/>
              </a:gs>
            </a:gsLst>
            <a:lin ang="16200000" scaled="0"/>
          </a:gra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sp>
        <p:nvSpPr>
          <p:cNvPr id="7" name="Picture Placeholder 9">
            <a:extLst>
              <a:ext uri="{FF2B5EF4-FFF2-40B4-BE49-F238E27FC236}">
                <a16:creationId xmlns:a16="http://schemas.microsoft.com/office/drawing/2014/main" id="{52EDDEA6-1B7F-4EFF-883B-0E82FA6E6658}"/>
              </a:ext>
            </a:extLst>
          </p:cNvPr>
          <p:cNvSpPr>
            <a:spLocks noGrp="1"/>
          </p:cNvSpPr>
          <p:nvPr>
            <p:ph type="pic" sz="quarter" idx="13" hasCustomPrompt="1"/>
          </p:nvPr>
        </p:nvSpPr>
        <p:spPr>
          <a:xfrm>
            <a:off x="5128002" y="0"/>
            <a:ext cx="7063997" cy="6858000"/>
          </a:xfrm>
          <a:solidFill>
            <a:schemeClr val="accent1"/>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E6A96607-418E-4F29-A67C-C13DE5DBFBC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26384704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990982A4-1C95-45AB-97D8-628A9C963E7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21797674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urple">
    <p:bg>
      <p:bgPr>
        <a:solidFill>
          <a:schemeClr val="accent1"/>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31EE27E9-B1A6-4A2B-AD31-9888A0FCFD9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1017161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21630420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picture blue Pi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accent1"/>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pic>
        <p:nvPicPr>
          <p:cNvPr id="3" name="Graphic 2">
            <a:extLst>
              <a:ext uri="{FF2B5EF4-FFF2-40B4-BE49-F238E27FC236}">
                <a16:creationId xmlns:a16="http://schemas.microsoft.com/office/drawing/2014/main" id="{F0551047-910C-414B-B006-2BEEB80E360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5791723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his presentation contains information that may be privileged or confidential and is the property of the Capgemini Gro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Get the Future You Want </a:t>
            </a:r>
            <a:r>
              <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t>
            </a: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r>
              <a:rPr kumimoji="0" lang="en-US" sz="1050" b="0" i="0" u="none" strike="noStrike" kern="1200" cap="none" spc="0" normalizeH="0" baseline="0" noProof="0">
                <a:ln>
                  <a:noFill/>
                </a:ln>
                <a:solidFill>
                  <a:srgbClr val="12ABDB"/>
                </a:solidFill>
                <a:effectLst/>
                <a:uLnTx/>
                <a:uFillTx/>
                <a:latin typeface="Ubuntu" panose="020B0504030602030204" pitchFamily="34" charset="0"/>
                <a:ea typeface="+mn-ea"/>
                <a:cs typeface="+mn-cs"/>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pic>
        <p:nvPicPr>
          <p:cNvPr id="24" name="Graphic 23">
            <a:extLst>
              <a:ext uri="{FF2B5EF4-FFF2-40B4-BE49-F238E27FC236}">
                <a16:creationId xmlns:a16="http://schemas.microsoft.com/office/drawing/2014/main" id="{72F5F467-E997-42E7-895F-441B7CD0094B}"/>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252501" y="930594"/>
            <a:ext cx="484833" cy="484833"/>
          </a:xfrm>
          <a:prstGeom prst="rect">
            <a:avLst/>
          </a:prstGeom>
        </p:spPr>
      </p:pic>
      <p:sp>
        <p:nvSpPr>
          <p:cNvPr id="25" name="TextBox 24">
            <a:extLst>
              <a:ext uri="{FF2B5EF4-FFF2-40B4-BE49-F238E27FC236}">
                <a16:creationId xmlns:a16="http://schemas.microsoft.com/office/drawing/2014/main" id="{2EB1E887-4188-4755-AC4C-9ADFC9040807}"/>
              </a:ext>
            </a:extLst>
          </p:cNvPr>
          <p:cNvSpPr txBox="1"/>
          <p:nvPr userDrawn="1"/>
        </p:nvSpPr>
        <p:spPr>
          <a:xfrm>
            <a:off x="2670830" y="1004842"/>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2756162208"/>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his presentation contains information that may be privileged or confidential and is the property of the Capgemini Group.</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Ubuntu" panose="020B0504030602030204" pitchFamily="34" charset="0"/>
                <a:ea typeface="+mn-ea"/>
                <a:cs typeface="Arial"/>
              </a:rPr>
              <a:t>Name, Last Nam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Title/Role</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Capgemini Office (Optional)</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1</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2 </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Ubuntu" panose="020B0504030602030204" pitchFamily="34" charset="0"/>
                <a:ea typeface="+mn-ea"/>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Get the Future You Want </a:t>
            </a:r>
            <a:r>
              <a:rPr kumimoji="0" lang="en-US"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a:t>
            </a:r>
            <a:r>
              <a:rPr kumimoji="0" lang="en-GB" sz="9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r>
              <a:rPr kumimoji="0" lang="en-US" sz="1050" b="0" i="0" u="none" strike="noStrike" kern="1200" cap="none" spc="0" normalizeH="0" baseline="0" noProof="0">
                <a:ln>
                  <a:noFill/>
                </a:ln>
                <a:solidFill>
                  <a:srgbClr val="12ABDB"/>
                </a:solidFill>
                <a:effectLst/>
                <a:uLnTx/>
                <a:uFillTx/>
                <a:latin typeface="Ubuntu" panose="020B0504030602030204" pitchFamily="34" charset="0"/>
                <a:ea typeface="+mn-ea"/>
                <a:cs typeface="+mn-cs"/>
              </a:rPr>
              <a:t>www.capgemini.com</a:t>
            </a:r>
          </a:p>
        </p:txBody>
      </p:sp>
      <p:pic>
        <p:nvPicPr>
          <p:cNvPr id="23" name="Image 5" descr="Une image contenant texte&#10;&#10;Description générée automatiquement">
            <a:extLst>
              <a:ext uri="{FF2B5EF4-FFF2-40B4-BE49-F238E27FC236}">
                <a16:creationId xmlns:a16="http://schemas.microsoft.com/office/drawing/2014/main" id="{EC5ED11C-A086-4536-8733-E2AA6FE47198}"/>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4881524"/>
            <a:ext cx="3024000" cy="1226177"/>
          </a:xfrm>
          <a:prstGeom prst="rect">
            <a:avLst/>
          </a:prstGeom>
        </p:spPr>
      </p:pic>
      <p:pic>
        <p:nvPicPr>
          <p:cNvPr id="25" name="Graphic 24">
            <a:extLst>
              <a:ext uri="{FF2B5EF4-FFF2-40B4-BE49-F238E27FC236}">
                <a16:creationId xmlns:a16="http://schemas.microsoft.com/office/drawing/2014/main" id="{41BE9FB1-36F7-4EFC-AEFB-A9D3A85BECDB}"/>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967622" y="5755512"/>
            <a:ext cx="484833" cy="484833"/>
          </a:xfrm>
          <a:prstGeom prst="rect">
            <a:avLst/>
          </a:prstGeom>
        </p:spPr>
      </p:pic>
      <p:sp>
        <p:nvSpPr>
          <p:cNvPr id="26" name="TextBox 25">
            <a:extLst>
              <a:ext uri="{FF2B5EF4-FFF2-40B4-BE49-F238E27FC236}">
                <a16:creationId xmlns:a16="http://schemas.microsoft.com/office/drawing/2014/main" id="{18090D85-D598-4896-ACD9-F3E9AA54318F}"/>
              </a:ext>
            </a:extLst>
          </p:cNvPr>
          <p:cNvSpPr txBox="1"/>
          <p:nvPr userDrawn="1"/>
        </p:nvSpPr>
        <p:spPr>
          <a:xfrm>
            <a:off x="8881022" y="5804691"/>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6539428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ch Talk Info">
    <p:bg>
      <p:bgPr>
        <a:solidFill>
          <a:schemeClr val="accent4"/>
        </a:solidFill>
        <a:effectLst/>
      </p:bgPr>
    </p:bg>
    <p:spTree>
      <p:nvGrpSpPr>
        <p:cNvPr id="1" name=""/>
        <p:cNvGrpSpPr/>
        <p:nvPr/>
      </p:nvGrpSpPr>
      <p:grpSpPr>
        <a:xfrm>
          <a:off x="0" y="0"/>
          <a:ext cx="0" cy="0"/>
          <a:chOff x="0" y="0"/>
          <a:chExt cx="0" cy="0"/>
        </a:xfrm>
      </p:grpSpPr>
      <p:sp>
        <p:nvSpPr>
          <p:cNvPr id="7" name="Graphic 13">
            <a:extLst>
              <a:ext uri="{FF2B5EF4-FFF2-40B4-BE49-F238E27FC236}">
                <a16:creationId xmlns:a16="http://schemas.microsoft.com/office/drawing/2014/main" id="{35A55A52-0610-4CE8-84FF-3BBF00357CAC}"/>
              </a:ext>
            </a:extLst>
          </p:cNvPr>
          <p:cNvSpPr>
            <a:spLocks noChangeAspect="1"/>
          </p:cNvSpPr>
          <p:nvPr userDrawn="1"/>
        </p:nvSpPr>
        <p:spPr>
          <a:xfrm rot="1047803">
            <a:off x="2843395" y="-1037033"/>
            <a:ext cx="9366678" cy="4626767"/>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15">
            <a:extLst>
              <a:ext uri="{FF2B5EF4-FFF2-40B4-BE49-F238E27FC236}">
                <a16:creationId xmlns:a16="http://schemas.microsoft.com/office/drawing/2014/main" id="{C648A709-29B1-416E-8432-72CF969942CD}"/>
              </a:ext>
            </a:extLst>
          </p:cNvPr>
          <p:cNvSpPr txBox="1">
            <a:spLocks/>
          </p:cNvSpPr>
          <p:nvPr userDrawn="1"/>
        </p:nvSpPr>
        <p:spPr>
          <a:xfrm>
            <a:off x="289559" y="445401"/>
            <a:ext cx="10971585" cy="716711"/>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600" b="0" i="0" u="none" strike="noStrike" kern="1200" cap="all" spc="0" normalizeH="0" baseline="0" noProof="0">
                <a:ln>
                  <a:noFill/>
                </a:ln>
                <a:solidFill>
                  <a:srgbClr val="FFFFFF"/>
                </a:solidFill>
                <a:effectLst/>
                <a:uLnTx/>
                <a:uFillTx/>
                <a:latin typeface="Ubuntu Medium"/>
                <a:ea typeface="+mn-ea"/>
                <a:cs typeface="+mn-cs"/>
              </a:rPr>
              <a:t>Tech talks</a:t>
            </a:r>
          </a:p>
        </p:txBody>
      </p:sp>
      <p:sp>
        <p:nvSpPr>
          <p:cNvPr id="11" name="Espace réservé du texte 15">
            <a:extLst>
              <a:ext uri="{FF2B5EF4-FFF2-40B4-BE49-F238E27FC236}">
                <a16:creationId xmlns:a16="http://schemas.microsoft.com/office/drawing/2014/main" id="{DE11FE94-4B9F-4169-B0DF-A30AAA8DF813}"/>
              </a:ext>
            </a:extLst>
          </p:cNvPr>
          <p:cNvSpPr txBox="1">
            <a:spLocks/>
          </p:cNvSpPr>
          <p:nvPr userDrawn="1"/>
        </p:nvSpPr>
        <p:spPr>
          <a:xfrm>
            <a:off x="289559" y="1461186"/>
            <a:ext cx="11382374" cy="4951413"/>
          </a:xfrm>
          <a:prstGeom prst="rect">
            <a:avLst/>
          </a:prstGeom>
        </p:spPr>
        <p:txBody>
          <a:bodyPr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Monthly, short and easy to contribute</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Stay up to date with latest trends</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Get to know other professionals</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Knowledge sharing, helping each other</a:t>
            </a:r>
          </a:p>
        </p:txBody>
      </p:sp>
      <p:sp>
        <p:nvSpPr>
          <p:cNvPr id="8" name="Espace réservé du texte 15">
            <a:extLst>
              <a:ext uri="{FF2B5EF4-FFF2-40B4-BE49-F238E27FC236}">
                <a16:creationId xmlns:a16="http://schemas.microsoft.com/office/drawing/2014/main" id="{283C0E57-134A-413A-90C7-6A33AAE35FA4}"/>
              </a:ext>
            </a:extLst>
          </p:cNvPr>
          <p:cNvSpPr txBox="1">
            <a:spLocks/>
          </p:cNvSpPr>
          <p:nvPr userDrawn="1"/>
        </p:nvSpPr>
        <p:spPr>
          <a:xfrm>
            <a:off x="289559" y="1461185"/>
            <a:ext cx="11382374" cy="4951413"/>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none" spc="0" normalizeH="0" baseline="0" noProof="0" dirty="0">
                <a:ln>
                  <a:noFill/>
                </a:ln>
                <a:solidFill>
                  <a:srgbClr val="FFFFFF"/>
                </a:solidFill>
                <a:effectLst/>
                <a:uLnTx/>
                <a:uFillTx/>
                <a:latin typeface="Ubuntu" panose="020B0504030602030204" pitchFamily="34" charset="0"/>
                <a:ea typeface="+mn-ea"/>
                <a:cs typeface="+mn-cs"/>
              </a:rPr>
              <a:t>If you would like to share your knowledge, or have a subject you would like to know more about, please let us know:</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12ABDB"/>
                </a:solidFill>
                <a:effectLst/>
                <a:uLnTx/>
                <a:uFillTx/>
                <a:latin typeface="Ubuntu" panose="020B0504030602030204" pitchFamily="34" charset="0"/>
                <a:ea typeface="+mn-lt"/>
                <a:cs typeface="+mn-lt"/>
                <a:hlinkClick r:id="rId6">
                  <a:extLst>
                    <a:ext uri="{A12FA001-AC4F-418D-AE19-62706E023703}">
                      <ahyp:hlinkClr xmlns:ahyp="http://schemas.microsoft.com/office/drawing/2018/hyperlinkcolor" val="tx"/>
                    </a:ext>
                  </a:extLst>
                </a:hlinkClick>
              </a:rPr>
              <a:t>NLMicrosoftnieuwsbriefredactie@capgemini.onmicrosoft.com</a:t>
            </a:r>
          </a:p>
        </p:txBody>
      </p:sp>
      <p:sp>
        <p:nvSpPr>
          <p:cNvPr id="10" name="Espace réservé du texte 15">
            <a:extLst>
              <a:ext uri="{FF2B5EF4-FFF2-40B4-BE49-F238E27FC236}">
                <a16:creationId xmlns:a16="http://schemas.microsoft.com/office/drawing/2014/main" id="{38A14040-65C1-4001-B67C-8BCA1024F716}"/>
              </a:ext>
            </a:extLst>
          </p:cNvPr>
          <p:cNvSpPr txBox="1">
            <a:spLocks/>
          </p:cNvSpPr>
          <p:nvPr userDrawn="1"/>
        </p:nvSpPr>
        <p:spPr>
          <a:xfrm>
            <a:off x="289559" y="2907779"/>
            <a:ext cx="10971585" cy="716711"/>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dirty="0">
                <a:ln>
                  <a:noFill/>
                </a:ln>
                <a:solidFill>
                  <a:srgbClr val="FFFFFF"/>
                </a:solidFill>
                <a:effectLst/>
                <a:uLnTx/>
                <a:uFillTx/>
                <a:latin typeface="Ubuntu"/>
                <a:ea typeface="+mn-ea"/>
                <a:cs typeface="+mn-cs"/>
              </a:rPr>
              <a:t>Future sessions</a:t>
            </a:r>
          </a:p>
        </p:txBody>
      </p:sp>
      <p:sp>
        <p:nvSpPr>
          <p:cNvPr id="12" name="Text Placeholder 8">
            <a:extLst>
              <a:ext uri="{FF2B5EF4-FFF2-40B4-BE49-F238E27FC236}">
                <a16:creationId xmlns:a16="http://schemas.microsoft.com/office/drawing/2014/main" id="{37BA16D5-A951-447E-9781-07710943C628}"/>
              </a:ext>
            </a:extLst>
          </p:cNvPr>
          <p:cNvSpPr>
            <a:spLocks noGrp="1"/>
          </p:cNvSpPr>
          <p:nvPr>
            <p:ph type="body" sz="quarter" idx="11" hasCustomPrompt="1"/>
          </p:nvPr>
        </p:nvSpPr>
        <p:spPr>
          <a:xfrm>
            <a:off x="403855" y="3877123"/>
            <a:ext cx="11382374" cy="307777"/>
          </a:xfrm>
        </p:spPr>
        <p:txBody>
          <a:bodyPr wrap="square" anchor="t">
            <a:spAutoFit/>
          </a:bodyPr>
          <a:lstStyle>
            <a:lvl1pPr marL="342900" indent="-342900">
              <a:buFont typeface="Wingdings" panose="05000000000000000000" pitchFamily="2" charset="2"/>
              <a:buChar char="§"/>
              <a:defRPr cap="none" baseline="0">
                <a:solidFill>
                  <a:schemeClr val="bg1"/>
                </a:solidFill>
                <a:latin typeface="+mn-lt"/>
              </a:defRPr>
            </a:lvl1pPr>
            <a:lvl2pPr marL="88900" indent="0">
              <a:buNone/>
              <a:defRPr/>
            </a:lvl2pPr>
          </a:lstStyle>
          <a:p>
            <a:pPr marL="342900" indent="-342900">
              <a:buFont typeface="Arial" panose="020B0604020202020204" pitchFamily="34" charset="0"/>
              <a:buChar char="•"/>
            </a:pPr>
            <a:r>
              <a:rPr lang="nl-NL" dirty="0">
                <a:solidFill>
                  <a:schemeClr val="bg1"/>
                </a:solidFill>
              </a:rPr>
              <a:t>Date – Speaker – Subject [red.]</a:t>
            </a:r>
          </a:p>
        </p:txBody>
      </p:sp>
    </p:spTree>
    <p:extLst>
      <p:ext uri="{BB962C8B-B14F-4D97-AF65-F5344CB8AC3E}">
        <p14:creationId xmlns:p14="http://schemas.microsoft.com/office/powerpoint/2010/main" val="36039716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pic>
        <p:nvPicPr>
          <p:cNvPr id="5" name="Graphic 4">
            <a:extLst>
              <a:ext uri="{FF2B5EF4-FFF2-40B4-BE49-F238E27FC236}">
                <a16:creationId xmlns:a16="http://schemas.microsoft.com/office/drawing/2014/main" id="{BA69DD0F-0D39-4965-B9E5-54AD462F949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2501" y="930594"/>
            <a:ext cx="484833" cy="484833"/>
          </a:xfrm>
          <a:prstGeom prst="rect">
            <a:avLst/>
          </a:prstGeom>
        </p:spPr>
      </p:pic>
      <p:sp>
        <p:nvSpPr>
          <p:cNvPr id="6" name="TextBox 5">
            <a:extLst>
              <a:ext uri="{FF2B5EF4-FFF2-40B4-BE49-F238E27FC236}">
                <a16:creationId xmlns:a16="http://schemas.microsoft.com/office/drawing/2014/main" id="{72AB21E5-85F5-40C0-8C2F-8B18ED43F600}"/>
              </a:ext>
            </a:extLst>
          </p:cNvPr>
          <p:cNvSpPr txBox="1"/>
          <p:nvPr userDrawn="1"/>
        </p:nvSpPr>
        <p:spPr>
          <a:xfrm>
            <a:off x="2670830" y="1004842"/>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418938573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ech Talk Info">
    <p:bg>
      <p:bgPr>
        <a:solidFill>
          <a:schemeClr val="accent4"/>
        </a:solidFill>
        <a:effectLst/>
      </p:bgPr>
    </p:bg>
    <p:spTree>
      <p:nvGrpSpPr>
        <p:cNvPr id="1" name=""/>
        <p:cNvGrpSpPr/>
        <p:nvPr/>
      </p:nvGrpSpPr>
      <p:grpSpPr>
        <a:xfrm>
          <a:off x="0" y="0"/>
          <a:ext cx="0" cy="0"/>
          <a:chOff x="0" y="0"/>
          <a:chExt cx="0" cy="0"/>
        </a:xfrm>
      </p:grpSpPr>
      <p:sp>
        <p:nvSpPr>
          <p:cNvPr id="7" name="Graphic 13">
            <a:extLst>
              <a:ext uri="{FF2B5EF4-FFF2-40B4-BE49-F238E27FC236}">
                <a16:creationId xmlns:a16="http://schemas.microsoft.com/office/drawing/2014/main" id="{35A55A52-0610-4CE8-84FF-3BBF00357CAC}"/>
              </a:ext>
            </a:extLst>
          </p:cNvPr>
          <p:cNvSpPr>
            <a:spLocks noChangeAspect="1"/>
          </p:cNvSpPr>
          <p:nvPr userDrawn="1"/>
        </p:nvSpPr>
        <p:spPr>
          <a:xfrm rot="1047803">
            <a:off x="2843395" y="-1037033"/>
            <a:ext cx="9366678" cy="4626767"/>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15">
            <a:extLst>
              <a:ext uri="{FF2B5EF4-FFF2-40B4-BE49-F238E27FC236}">
                <a16:creationId xmlns:a16="http://schemas.microsoft.com/office/drawing/2014/main" id="{C648A709-29B1-416E-8432-72CF969942CD}"/>
              </a:ext>
            </a:extLst>
          </p:cNvPr>
          <p:cNvSpPr txBox="1">
            <a:spLocks/>
          </p:cNvSpPr>
          <p:nvPr userDrawn="1"/>
        </p:nvSpPr>
        <p:spPr>
          <a:xfrm>
            <a:off x="289559" y="442161"/>
            <a:ext cx="10971585" cy="716711"/>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nl-NL" sz="2600" b="0" cap="all" baseline="0" dirty="0">
                <a:solidFill>
                  <a:schemeClr val="bg1"/>
                </a:solidFill>
                <a:latin typeface="+mj-lt"/>
              </a:rPr>
              <a:t>Tech talks</a:t>
            </a:r>
          </a:p>
        </p:txBody>
      </p:sp>
      <p:sp>
        <p:nvSpPr>
          <p:cNvPr id="11" name="Espace réservé du texte 15">
            <a:extLst>
              <a:ext uri="{FF2B5EF4-FFF2-40B4-BE49-F238E27FC236}">
                <a16:creationId xmlns:a16="http://schemas.microsoft.com/office/drawing/2014/main" id="{DE11FE94-4B9F-4169-B0DF-A30AAA8DF813}"/>
              </a:ext>
            </a:extLst>
          </p:cNvPr>
          <p:cNvSpPr txBox="1">
            <a:spLocks/>
          </p:cNvSpPr>
          <p:nvPr userDrawn="1"/>
        </p:nvSpPr>
        <p:spPr>
          <a:xfrm>
            <a:off x="289559" y="1461186"/>
            <a:ext cx="11382374" cy="4951413"/>
          </a:xfrm>
          <a:prstGeom prst="rect">
            <a:avLst/>
          </a:prstGeom>
        </p:spPr>
        <p:txBody>
          <a:bodyPr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dirty="0">
                <a:solidFill>
                  <a:schemeClr val="bg1"/>
                </a:solidFill>
              </a:rPr>
              <a:t>Monthly, short and easy to contribute</a:t>
            </a:r>
          </a:p>
          <a:p>
            <a:endParaRPr lang="nl-NL" dirty="0">
              <a:solidFill>
                <a:schemeClr val="bg1"/>
              </a:solidFill>
            </a:endParaRPr>
          </a:p>
          <a:p>
            <a:r>
              <a:rPr lang="nl-NL" dirty="0">
                <a:solidFill>
                  <a:schemeClr val="bg1"/>
                </a:solidFill>
              </a:rPr>
              <a:t>Goals:</a:t>
            </a:r>
          </a:p>
          <a:p>
            <a:pPr marL="342900" indent="-342900">
              <a:buFont typeface="Arial" panose="020B0604020202020204" pitchFamily="34" charset="0"/>
              <a:buChar char="•"/>
            </a:pPr>
            <a:r>
              <a:rPr lang="nl-NL" dirty="0">
                <a:solidFill>
                  <a:schemeClr val="bg1"/>
                </a:solidFill>
              </a:rPr>
              <a:t>Stay up to date with latest trends</a:t>
            </a:r>
          </a:p>
          <a:p>
            <a:pPr marL="342900" indent="-342900">
              <a:buFont typeface="Arial" panose="020B0604020202020204" pitchFamily="34" charset="0"/>
              <a:buChar char="•"/>
            </a:pPr>
            <a:r>
              <a:rPr lang="nl-NL" dirty="0">
                <a:solidFill>
                  <a:schemeClr val="bg1"/>
                </a:solidFill>
              </a:rPr>
              <a:t>Get to know other professionals</a:t>
            </a:r>
          </a:p>
          <a:p>
            <a:pPr marL="342900" indent="-342900">
              <a:buFont typeface="Arial" panose="020B0604020202020204" pitchFamily="34" charset="0"/>
              <a:buChar char="•"/>
            </a:pPr>
            <a:r>
              <a:rPr lang="nl-NL" dirty="0">
                <a:solidFill>
                  <a:schemeClr val="bg1"/>
                </a:solidFill>
              </a:rPr>
              <a:t>Knowledge sharing, helping each other</a:t>
            </a:r>
          </a:p>
        </p:txBody>
      </p:sp>
    </p:spTree>
    <p:extLst>
      <p:ext uri="{BB962C8B-B14F-4D97-AF65-F5344CB8AC3E}">
        <p14:creationId xmlns:p14="http://schemas.microsoft.com/office/powerpoint/2010/main" val="21359425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ch Talk Start Presentation">
    <p:bg>
      <p:bgPr>
        <a:solidFill>
          <a:schemeClr val="accent4"/>
        </a:solidFill>
        <a:effectLst/>
      </p:bgPr>
    </p:bg>
    <p:spTree>
      <p:nvGrpSpPr>
        <p:cNvPr id="1" name=""/>
        <p:cNvGrpSpPr/>
        <p:nvPr/>
      </p:nvGrpSpPr>
      <p:grpSpPr>
        <a:xfrm>
          <a:off x="0" y="0"/>
          <a:ext cx="0" cy="0"/>
          <a:chOff x="0" y="0"/>
          <a:chExt cx="0" cy="0"/>
        </a:xfrm>
      </p:grpSpPr>
      <p:sp>
        <p:nvSpPr>
          <p:cNvPr id="6" name="Picture Placeholder 9">
            <a:extLst>
              <a:ext uri="{FF2B5EF4-FFF2-40B4-BE49-F238E27FC236}">
                <a16:creationId xmlns:a16="http://schemas.microsoft.com/office/drawing/2014/main" id="{FE23A922-587C-4E3A-8C75-7062A00957AE}"/>
              </a:ext>
            </a:extLst>
          </p:cNvPr>
          <p:cNvSpPr>
            <a:spLocks noGrp="1"/>
          </p:cNvSpPr>
          <p:nvPr>
            <p:ph type="pic" sz="quarter" idx="11" hasCustomPrompt="1"/>
          </p:nvPr>
        </p:nvSpPr>
        <p:spPr>
          <a:xfrm>
            <a:off x="5303838" y="-2937"/>
            <a:ext cx="6888162" cy="6858000"/>
          </a:xfrm>
          <a:no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le]</a:t>
            </a:r>
          </a:p>
        </p:txBody>
      </p:sp>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nl-NL"/>
              <a:t>[start your </a:t>
            </a:r>
            <a:br>
              <a:rPr lang="nl-NL"/>
            </a:br>
            <a:r>
              <a:rPr lang="nl-NL"/>
              <a:t>presentation her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pic>
        <p:nvPicPr>
          <p:cNvPr id="10" name="Graphic 9">
            <a:extLst>
              <a:ext uri="{FF2B5EF4-FFF2-40B4-BE49-F238E27FC236}">
                <a16:creationId xmlns:a16="http://schemas.microsoft.com/office/drawing/2014/main" id="{C43015CC-9686-4F73-983A-D53D3128248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61324197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ch Talk Demo">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hasCustomPrompt="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le]</a:t>
            </a:r>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sp>
        <p:nvSpPr>
          <p:cNvPr id="6" name="Espace réservé du texte 15">
            <a:extLst>
              <a:ext uri="{FF2B5EF4-FFF2-40B4-BE49-F238E27FC236}">
                <a16:creationId xmlns:a16="http://schemas.microsoft.com/office/drawing/2014/main" id="{545953F1-C448-4C30-8E9F-CCB33349C23B}"/>
              </a:ext>
            </a:extLst>
          </p:cNvPr>
          <p:cNvSpPr txBox="1">
            <a:spLocks/>
          </p:cNvSpPr>
          <p:nvPr userDrawn="1"/>
        </p:nvSpPr>
        <p:spPr>
          <a:xfrm>
            <a:off x="321683" y="2273274"/>
            <a:ext cx="11329986" cy="1477328"/>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5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demo</a:t>
            </a:r>
          </a:p>
        </p:txBody>
      </p:sp>
      <p:sp>
        <p:nvSpPr>
          <p:cNvPr id="8" name="Picture Placeholder 9">
            <a:extLst>
              <a:ext uri="{FF2B5EF4-FFF2-40B4-BE49-F238E27FC236}">
                <a16:creationId xmlns:a16="http://schemas.microsoft.com/office/drawing/2014/main" id="{1FFEB988-4336-42AB-9AFE-4A95767CB419}"/>
              </a:ext>
            </a:extLst>
          </p:cNvPr>
          <p:cNvSpPr>
            <a:spLocks noGrp="1"/>
          </p:cNvSpPr>
          <p:nvPr>
            <p:ph type="pic" sz="quarter" idx="11" hasCustomPrompt="1"/>
          </p:nvPr>
        </p:nvSpPr>
        <p:spPr>
          <a:xfrm>
            <a:off x="5303838" y="-2937"/>
            <a:ext cx="6888162" cy="6858000"/>
          </a:xfrm>
          <a:no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pic>
        <p:nvPicPr>
          <p:cNvPr id="10" name="Graphic 9">
            <a:extLst>
              <a:ext uri="{FF2B5EF4-FFF2-40B4-BE49-F238E27FC236}">
                <a16:creationId xmlns:a16="http://schemas.microsoft.com/office/drawing/2014/main" id="{18664CB5-5DD5-42AD-948B-EABB087B3B4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144472266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ch Talk Questions">
    <p:bg>
      <p:bgPr>
        <a:solidFill>
          <a:schemeClr val="accent4"/>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1787236" y="1825079"/>
            <a:ext cx="3228644" cy="307777"/>
          </a:xfrm>
        </p:spPr>
        <p:txBody>
          <a:bodyPr wrap="square" anchor="b">
            <a:spAutoFit/>
          </a:bodyPr>
          <a:lstStyle>
            <a:lvl1pPr>
              <a:defRPr cap="all" baseline="0">
                <a:solidFill>
                  <a:schemeClr val="accent2"/>
                </a:solidFill>
                <a:latin typeface="Ubuntu Light" panose="020B0304030602030204" pitchFamily="34" charset="0"/>
              </a:defRPr>
            </a:lvl1pPr>
            <a:lvl2pPr marL="88900" indent="0">
              <a:buNone/>
              <a:defRPr/>
            </a:lvl2pPr>
          </a:lstStyle>
          <a:p>
            <a:pPr lvl="0"/>
            <a:r>
              <a:rPr lang="fr-FR"/>
              <a:t>[</a:t>
            </a:r>
            <a:r>
              <a:rPr lang="fr-FR" err="1"/>
              <a:t>subject</a:t>
            </a:r>
            <a:r>
              <a:rPr lang="fr-FR"/>
              <a:t>]</a:t>
            </a:r>
          </a:p>
        </p:txBody>
      </p:sp>
      <p:sp>
        <p:nvSpPr>
          <p:cNvPr id="7" name="Espace réservé du texte 15">
            <a:extLst>
              <a:ext uri="{FF2B5EF4-FFF2-40B4-BE49-F238E27FC236}">
                <a16:creationId xmlns:a16="http://schemas.microsoft.com/office/drawing/2014/main" id="{1E61CD99-BFEB-40AB-8484-FE1256ADE8EB}"/>
              </a:ext>
            </a:extLst>
          </p:cNvPr>
          <p:cNvSpPr txBox="1">
            <a:spLocks/>
          </p:cNvSpPr>
          <p:nvPr userDrawn="1"/>
        </p:nvSpPr>
        <p:spPr>
          <a:xfrm>
            <a:off x="331124" y="1777760"/>
            <a:ext cx="1530928" cy="402414"/>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2000" b="0" i="0" u="none" strike="noStrike" kern="1200" cap="all" spc="0" normalizeH="0" baseline="0" noProof="0">
                <a:ln>
                  <a:noFill/>
                </a:ln>
                <a:solidFill>
                  <a:srgbClr val="12ABDB"/>
                </a:solidFill>
                <a:effectLst/>
                <a:uLnTx/>
                <a:uFillTx/>
                <a:latin typeface="Ubuntu Light" panose="020B0304030602030204" pitchFamily="34" charset="0"/>
                <a:ea typeface="+mn-ea"/>
                <a:cs typeface="+mn-cs"/>
              </a:rPr>
              <a:t>Tech talk: </a:t>
            </a:r>
          </a:p>
        </p:txBody>
      </p:sp>
      <p:sp>
        <p:nvSpPr>
          <p:cNvPr id="6" name="Espace réservé du texte 15">
            <a:extLst>
              <a:ext uri="{FF2B5EF4-FFF2-40B4-BE49-F238E27FC236}">
                <a16:creationId xmlns:a16="http://schemas.microsoft.com/office/drawing/2014/main" id="{545953F1-C448-4C30-8E9F-CCB33349C23B}"/>
              </a:ext>
            </a:extLst>
          </p:cNvPr>
          <p:cNvSpPr txBox="1">
            <a:spLocks/>
          </p:cNvSpPr>
          <p:nvPr userDrawn="1"/>
        </p:nvSpPr>
        <p:spPr>
          <a:xfrm>
            <a:off x="321683" y="2273274"/>
            <a:ext cx="11329986" cy="1477328"/>
          </a:xfrm>
          <a:prstGeom prst="rect">
            <a:avLst/>
          </a:prstGeom>
        </p:spPr>
        <p:txBody>
          <a:bodyPr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nl-NL" sz="5600" b="1" i="0" u="none" strike="noStrike" kern="1200" cap="all" spc="0" normalizeH="0" baseline="0" noProof="0">
                <a:ln>
                  <a:noFill/>
                </a:ln>
                <a:solidFill>
                  <a:srgbClr val="FFFFFF"/>
                </a:solidFill>
                <a:effectLst/>
                <a:uLnTx/>
                <a:uFillTx/>
                <a:latin typeface="Ubuntu" panose="020B0504030602030204" pitchFamily="34" charset="0"/>
                <a:ea typeface="+mn-ea"/>
                <a:cs typeface="+mn-cs"/>
              </a:rPr>
              <a:t>Any questions?</a:t>
            </a:r>
          </a:p>
        </p:txBody>
      </p:sp>
    </p:spTree>
    <p:extLst>
      <p:ext uri="{BB962C8B-B14F-4D97-AF65-F5344CB8AC3E}">
        <p14:creationId xmlns:p14="http://schemas.microsoft.com/office/powerpoint/2010/main" val="360373934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27876"/>
            <a:ext cx="6888162" cy="6858000"/>
          </a:xfrm>
          <a:solidFill>
            <a:schemeClr val="accent1"/>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pic>
        <p:nvPicPr>
          <p:cNvPr id="6" name="Graphic 5">
            <a:extLst>
              <a:ext uri="{FF2B5EF4-FFF2-40B4-BE49-F238E27FC236}">
                <a16:creationId xmlns:a16="http://schemas.microsoft.com/office/drawing/2014/main" id="{AA9D831B-61D4-4C48-8BC8-FAA5A2A418E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36240" y="569112"/>
            <a:ext cx="484833" cy="484833"/>
          </a:xfrm>
          <a:prstGeom prst="rect">
            <a:avLst/>
          </a:prstGeom>
        </p:spPr>
      </p:pic>
      <p:sp>
        <p:nvSpPr>
          <p:cNvPr id="8" name="TextBox 7">
            <a:extLst>
              <a:ext uri="{FF2B5EF4-FFF2-40B4-BE49-F238E27FC236}">
                <a16:creationId xmlns:a16="http://schemas.microsoft.com/office/drawing/2014/main" id="{1A4A3D1B-2996-4901-8C9F-4236FF627CAB}"/>
              </a:ext>
            </a:extLst>
          </p:cNvPr>
          <p:cNvSpPr txBox="1"/>
          <p:nvPr userDrawn="1"/>
        </p:nvSpPr>
        <p:spPr>
          <a:xfrm>
            <a:off x="2754569" y="643360"/>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394783934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pic>
        <p:nvPicPr>
          <p:cNvPr id="11" name="Graphic 10">
            <a:extLst>
              <a:ext uri="{FF2B5EF4-FFF2-40B4-BE49-F238E27FC236}">
                <a16:creationId xmlns:a16="http://schemas.microsoft.com/office/drawing/2014/main" id="{9A9EED92-F079-4798-B452-C97F35569D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70271" y="1120459"/>
            <a:ext cx="484833" cy="484833"/>
          </a:xfrm>
          <a:prstGeom prst="rect">
            <a:avLst/>
          </a:prstGeom>
        </p:spPr>
      </p:pic>
      <p:sp>
        <p:nvSpPr>
          <p:cNvPr id="12" name="TextBox 11">
            <a:extLst>
              <a:ext uri="{FF2B5EF4-FFF2-40B4-BE49-F238E27FC236}">
                <a16:creationId xmlns:a16="http://schemas.microsoft.com/office/drawing/2014/main" id="{6EB8A50B-B177-459A-89C9-F037D2BB1163}"/>
              </a:ext>
            </a:extLst>
          </p:cNvPr>
          <p:cNvSpPr txBox="1"/>
          <p:nvPr userDrawn="1"/>
        </p:nvSpPr>
        <p:spPr>
          <a:xfrm>
            <a:off x="9183671" y="1169638"/>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17208658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pic>
        <p:nvPicPr>
          <p:cNvPr id="8" name="Graphic 7">
            <a:extLst>
              <a:ext uri="{FF2B5EF4-FFF2-40B4-BE49-F238E27FC236}">
                <a16:creationId xmlns:a16="http://schemas.microsoft.com/office/drawing/2014/main" id="{EFEA03A3-7406-40B4-94C6-ECCC6684B6F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57504" y="569112"/>
            <a:ext cx="484833" cy="484833"/>
          </a:xfrm>
          <a:prstGeom prst="rect">
            <a:avLst/>
          </a:prstGeom>
        </p:spPr>
      </p:pic>
      <p:sp>
        <p:nvSpPr>
          <p:cNvPr id="9" name="TextBox 8">
            <a:extLst>
              <a:ext uri="{FF2B5EF4-FFF2-40B4-BE49-F238E27FC236}">
                <a16:creationId xmlns:a16="http://schemas.microsoft.com/office/drawing/2014/main" id="{35CAA5AC-0456-4BAF-950A-569979DBD557}"/>
              </a:ext>
            </a:extLst>
          </p:cNvPr>
          <p:cNvSpPr txBox="1"/>
          <p:nvPr userDrawn="1"/>
        </p:nvSpPr>
        <p:spPr>
          <a:xfrm>
            <a:off x="2775833" y="643360"/>
            <a:ext cx="2086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0070AD"/>
                </a:solidFill>
                <a:effectLst/>
                <a:uLnTx/>
                <a:uFillTx/>
                <a:latin typeface="Ubuntu Medium"/>
                <a:ea typeface="+mn-ea"/>
                <a:cs typeface="+mn-cs"/>
              </a:rPr>
              <a:t>NL Microsoft CoP</a:t>
            </a:r>
          </a:p>
        </p:txBody>
      </p:sp>
    </p:spTree>
    <p:extLst>
      <p:ext uri="{BB962C8B-B14F-4D97-AF65-F5344CB8AC3E}">
        <p14:creationId xmlns:p14="http://schemas.microsoft.com/office/powerpoint/2010/main" val="365859041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4"/>
            </p:custDataLst>
            <p:extLst>
              <p:ext uri="{D42A27DB-BD31-4B8C-83A1-F6EECF244321}">
                <p14:modId xmlns:p14="http://schemas.microsoft.com/office/powerpoint/2010/main" val="312937983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35" imgW="270" imgH="270" progId="TCLayout.ActiveDocument.1">
                  <p:embed/>
                </p:oleObj>
              </mc:Choice>
              <mc:Fallback>
                <p:oleObj name="think-cell Slide" r:id="rId35" imgW="270" imgH="270" progId="TCLayout.ActiveDocument.1">
                  <p:embed/>
                  <p:pic>
                    <p:nvPicPr>
                      <p:cNvPr id="21" name="Object 20"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Title Placeholder 1"/>
          <p:cNvSpPr>
            <a:spLocks noGrp="1"/>
          </p:cNvSpPr>
          <p:nvPr>
            <p:ph type="title"/>
          </p:nvPr>
        </p:nvSpPr>
        <p:spPr>
          <a:xfrm>
            <a:off x="404813" y="388188"/>
            <a:ext cx="10947772" cy="716711"/>
          </a:xfrm>
          <a:prstGeom prst="rect">
            <a:avLst/>
          </a:prstGeom>
          <a:noFill/>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3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4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5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1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8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7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2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4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6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5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6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8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4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5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2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urity Classif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0: Publ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1: Company Confident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2: Company Restricted / Customer restric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Ubuntu" panose="020B0504030602030204" pitchFamily="34" charset="0"/>
                <a:ea typeface="+mn-ea"/>
                <a:cs typeface="+mn-cs"/>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3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7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4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4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4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8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3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6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8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0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2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4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9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1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3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Ubuntu" panose="020B0504030602030204" pitchFamily="34" charset="0"/>
                  <a:ea typeface="+mn-ea"/>
                  <a:cs typeface="+mn-cs"/>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A6A6A6"/>
                </a:solidFill>
                <a:effectLst/>
                <a:uLnTx/>
                <a:uFillTx/>
                <a:latin typeface="Ubuntu" panose="020B0504030602030204" pitchFamily="34" charset="0"/>
                <a:ea typeface="+mn-ea"/>
                <a:cs typeface="Arial" panose="020B0604020202020204" pitchFamily="34" charset="0"/>
              </a:rPr>
              <a:t>CI/CD &amp; Azure Kubernetes services |  Joost Went |  9-12-2021</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A6A6A6"/>
                </a:solidFill>
                <a:effectLst/>
                <a:uLnTx/>
                <a:uFillTx/>
                <a:latin typeface="Ubuntu" panose="020B0504030602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rPr>
              <a:t>Company Confidential © Capgemini 2021. All rights reserved  |</a:t>
            </a:r>
          </a:p>
        </p:txBody>
      </p:sp>
      <p:pic>
        <p:nvPicPr>
          <p:cNvPr id="62" name="Graphic 61">
            <a:extLst>
              <a:ext uri="{FF2B5EF4-FFF2-40B4-BE49-F238E27FC236}">
                <a16:creationId xmlns:a16="http://schemas.microsoft.com/office/drawing/2014/main" id="{053B3565-79CB-4C21-AA08-B4E201BB5F4D}"/>
              </a:ext>
            </a:extLst>
          </p:cNvPr>
          <p:cNvPicPr>
            <a:picLocks noChangeAspect="1"/>
          </p:cNvPicPr>
          <p:nvPr userDrawn="1"/>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1550572" y="178672"/>
            <a:ext cx="484833" cy="484833"/>
          </a:xfrm>
          <a:prstGeom prst="rect">
            <a:avLst/>
          </a:prstGeom>
        </p:spPr>
      </p:pic>
    </p:spTree>
    <p:extLst>
      <p:ext uri="{BB962C8B-B14F-4D97-AF65-F5344CB8AC3E}">
        <p14:creationId xmlns:p14="http://schemas.microsoft.com/office/powerpoint/2010/main" val="3332273510"/>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bg1"/>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bg1"/>
        </a:buClr>
        <a:buFont typeface="Wingdings" panose="05000000000000000000" pitchFamily="2" charset="2"/>
        <a:buChar char="§"/>
        <a:defRPr sz="1800" kern="1200" baseline="0">
          <a:solidFill>
            <a:schemeClr val="bg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600" kern="1200" baseline="0">
          <a:solidFill>
            <a:schemeClr val="bg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accent1"/>
        </a:buClr>
        <a:buFont typeface="Ubuntu" panose="020B0504030602030204" pitchFamily="34" charset="0"/>
        <a:buChar char="–"/>
        <a:defRPr sz="1400" kern="1200" baseline="0">
          <a:solidFill>
            <a:schemeClr val="bg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bg1"/>
          </a:solidFill>
          <a:latin typeface="Ubuntu" panose="020B0504030602030204" pitchFamily="34" charset="0"/>
          <a:ea typeface="+mn-ea"/>
          <a:cs typeface="+mn-cs"/>
        </a:defRPr>
      </a:lvl5pPr>
      <a:lvl6pPr marL="2286000" indent="0" algn="l" defTabSz="914400" rtl="0" eaLnBrk="1" latinLnBrk="0" hangingPunct="1">
        <a:lnSpc>
          <a:spcPct val="90000"/>
        </a:lnSpc>
        <a:spcBef>
          <a:spcPts val="500"/>
        </a:spcBef>
        <a:buClr>
          <a:schemeClr val="accent3"/>
        </a:buClr>
        <a:buSzPct val="50000"/>
        <a:buFont typeface="Courier New" panose="02070309020205020404" pitchFamily="49"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DC3BB3C-10D9-4152-854A-4B31332E4997}"/>
              </a:ext>
            </a:extLst>
          </p:cNvPr>
          <p:cNvSpPr>
            <a:spLocks noGrp="1"/>
          </p:cNvSpPr>
          <p:nvPr>
            <p:ph type="subTitle" idx="1"/>
          </p:nvPr>
        </p:nvSpPr>
        <p:spPr/>
        <p:txBody>
          <a:bodyPr/>
          <a:lstStyle/>
          <a:p>
            <a:r>
              <a:rPr lang="nl-NL" dirty="0"/>
              <a:t>Joost Went</a:t>
            </a:r>
          </a:p>
        </p:txBody>
      </p:sp>
      <p:sp>
        <p:nvSpPr>
          <p:cNvPr id="2" name="Title 1">
            <a:extLst>
              <a:ext uri="{FF2B5EF4-FFF2-40B4-BE49-F238E27FC236}">
                <a16:creationId xmlns:a16="http://schemas.microsoft.com/office/drawing/2014/main" id="{5C9B3386-1486-4AFF-9679-110494063356}"/>
              </a:ext>
            </a:extLst>
          </p:cNvPr>
          <p:cNvSpPr>
            <a:spLocks noGrp="1"/>
          </p:cNvSpPr>
          <p:nvPr>
            <p:ph type="ctrTitle"/>
          </p:nvPr>
        </p:nvSpPr>
        <p:spPr>
          <a:xfrm>
            <a:off x="2227811" y="3519809"/>
            <a:ext cx="9563135" cy="553998"/>
          </a:xfrm>
        </p:spPr>
        <p:txBody>
          <a:bodyPr/>
          <a:lstStyle/>
          <a:p>
            <a:r>
              <a:rPr lang="nl-NL" sz="3600" dirty="0"/>
              <a:t>CI/CD &amp; </a:t>
            </a:r>
            <a:r>
              <a:rPr lang="nl-NL" sz="3600" dirty="0" err="1"/>
              <a:t>Azure</a:t>
            </a:r>
            <a:r>
              <a:rPr lang="nl-NL" sz="3600" dirty="0"/>
              <a:t> </a:t>
            </a:r>
            <a:r>
              <a:rPr lang="nl-NL" sz="3600" dirty="0" err="1"/>
              <a:t>Kubernetes</a:t>
            </a:r>
            <a:r>
              <a:rPr lang="nl-NL" sz="3600" dirty="0"/>
              <a:t> services</a:t>
            </a:r>
          </a:p>
        </p:txBody>
      </p:sp>
    </p:spTree>
    <p:extLst>
      <p:ext uri="{BB962C8B-B14F-4D97-AF65-F5344CB8AC3E}">
        <p14:creationId xmlns:p14="http://schemas.microsoft.com/office/powerpoint/2010/main" val="9665731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34681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5BB5A4-1DAF-4D4C-A550-73B9CA6DD3ED}"/>
              </a:ext>
            </a:extLst>
          </p:cNvPr>
          <p:cNvSpPr>
            <a:spLocks noGrp="1"/>
          </p:cNvSpPr>
          <p:nvPr>
            <p:ph type="body" sz="quarter" idx="11"/>
          </p:nvPr>
        </p:nvSpPr>
        <p:spPr/>
        <p:txBody>
          <a:bodyPr/>
          <a:lstStyle/>
          <a:p>
            <a:r>
              <a:rPr lang="en-US" dirty="0"/>
              <a:t>To be determined</a:t>
            </a:r>
          </a:p>
        </p:txBody>
      </p:sp>
    </p:spTree>
    <p:extLst>
      <p:ext uri="{BB962C8B-B14F-4D97-AF65-F5344CB8AC3E}">
        <p14:creationId xmlns:p14="http://schemas.microsoft.com/office/powerpoint/2010/main" val="25143718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FBA5072-B2D5-4885-8305-0D72996D056B}"/>
              </a:ext>
            </a:extLst>
          </p:cNvPr>
          <p:cNvSpPr>
            <a:spLocks noGrp="1"/>
          </p:cNvSpPr>
          <p:nvPr>
            <p:ph type="pic" sz="quarter" idx="11"/>
          </p:nvPr>
        </p:nvSpPr>
        <p:spPr/>
      </p:sp>
      <p:sp>
        <p:nvSpPr>
          <p:cNvPr id="6" name="Subtitle 5">
            <a:extLst>
              <a:ext uri="{FF2B5EF4-FFF2-40B4-BE49-F238E27FC236}">
                <a16:creationId xmlns:a16="http://schemas.microsoft.com/office/drawing/2014/main" id="{C74C51FB-C596-44B7-ABE2-886C72B657F8}"/>
              </a:ext>
            </a:extLst>
          </p:cNvPr>
          <p:cNvSpPr>
            <a:spLocks noGrp="1"/>
          </p:cNvSpPr>
          <p:nvPr>
            <p:ph type="subTitle" idx="1"/>
          </p:nvPr>
        </p:nvSpPr>
        <p:spPr/>
        <p:txBody>
          <a:bodyPr/>
          <a:lstStyle/>
          <a:p>
            <a:endParaRPr lang="nl-NL"/>
          </a:p>
        </p:txBody>
      </p:sp>
      <p:sp>
        <p:nvSpPr>
          <p:cNvPr id="5" name="Title 4">
            <a:extLst>
              <a:ext uri="{FF2B5EF4-FFF2-40B4-BE49-F238E27FC236}">
                <a16:creationId xmlns:a16="http://schemas.microsoft.com/office/drawing/2014/main" id="{7467970E-04BB-4B0E-B16F-66F95AE2D81D}"/>
              </a:ext>
            </a:extLst>
          </p:cNvPr>
          <p:cNvSpPr>
            <a:spLocks noGrp="1"/>
          </p:cNvSpPr>
          <p:nvPr>
            <p:ph type="ctrTitle"/>
          </p:nvPr>
        </p:nvSpPr>
        <p:spPr/>
        <p:txBody>
          <a:bodyPr/>
          <a:lstStyle/>
          <a:p>
            <a:endParaRPr lang="nl-NL"/>
          </a:p>
        </p:txBody>
      </p:sp>
      <p:sp>
        <p:nvSpPr>
          <p:cNvPr id="7" name="Text Placeholder 6">
            <a:extLst>
              <a:ext uri="{FF2B5EF4-FFF2-40B4-BE49-F238E27FC236}">
                <a16:creationId xmlns:a16="http://schemas.microsoft.com/office/drawing/2014/main" id="{F0FA6EE0-432C-441F-BCF8-8645021D6957}"/>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31826348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26DD7B0-AFDA-4751-9322-E197AAE98409}"/>
              </a:ext>
            </a:extLst>
          </p:cNvPr>
          <p:cNvSpPr>
            <a:spLocks noGrp="1"/>
          </p:cNvSpPr>
          <p:nvPr>
            <p:ph type="subTitle" idx="1"/>
          </p:nvPr>
        </p:nvSpPr>
        <p:spPr/>
        <p:txBody>
          <a:bodyPr/>
          <a:lstStyle/>
          <a:p>
            <a:endParaRPr lang="nl-NL"/>
          </a:p>
        </p:txBody>
      </p:sp>
      <p:sp>
        <p:nvSpPr>
          <p:cNvPr id="3" name="Text Placeholder 2">
            <a:extLst>
              <a:ext uri="{FF2B5EF4-FFF2-40B4-BE49-F238E27FC236}">
                <a16:creationId xmlns:a16="http://schemas.microsoft.com/office/drawing/2014/main" id="{5A756D80-BCA6-46EC-BD76-A3424158F74D}"/>
              </a:ext>
            </a:extLst>
          </p:cNvPr>
          <p:cNvSpPr>
            <a:spLocks noGrp="1"/>
          </p:cNvSpPr>
          <p:nvPr>
            <p:ph type="body" sz="quarter" idx="10"/>
          </p:nvPr>
        </p:nvSpPr>
        <p:spPr/>
        <p:txBody>
          <a:bodyPr/>
          <a:lstStyle/>
          <a:p>
            <a:endParaRPr lang="nl-NL"/>
          </a:p>
        </p:txBody>
      </p:sp>
      <p:sp>
        <p:nvSpPr>
          <p:cNvPr id="4" name="Picture Placeholder 3">
            <a:extLst>
              <a:ext uri="{FF2B5EF4-FFF2-40B4-BE49-F238E27FC236}">
                <a16:creationId xmlns:a16="http://schemas.microsoft.com/office/drawing/2014/main" id="{7081B9EA-D5FD-4DD1-A6D8-C3C5CEFAA573}"/>
              </a:ext>
            </a:extLst>
          </p:cNvPr>
          <p:cNvSpPr>
            <a:spLocks noGrp="1"/>
          </p:cNvSpPr>
          <p:nvPr>
            <p:ph type="pic" sz="quarter" idx="11"/>
          </p:nvPr>
        </p:nvSpPr>
        <p:spPr/>
      </p:sp>
    </p:spTree>
    <p:extLst>
      <p:ext uri="{BB962C8B-B14F-4D97-AF65-F5344CB8AC3E}">
        <p14:creationId xmlns:p14="http://schemas.microsoft.com/office/powerpoint/2010/main" val="38823763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6791E4-6CE7-49C3-9299-C90FEB4C952F}"/>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1765585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83033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C423E2E7BBB724EBD66262F8096C02C" ma:contentTypeVersion="12" ma:contentTypeDescription="Create a new document." ma:contentTypeScope="" ma:versionID="029439c3627e46743cc90f720991ec29">
  <xsd:schema xmlns:xsd="http://www.w3.org/2001/XMLSchema" xmlns:xs="http://www.w3.org/2001/XMLSchema" xmlns:p="http://schemas.microsoft.com/office/2006/metadata/properties" xmlns:ns2="3d04ce2b-259a-43e1-b1f9-9b7f7594f86e" xmlns:ns3="5c6beff6-7d87-4e1b-88cc-945dc3351362" targetNamespace="http://schemas.microsoft.com/office/2006/metadata/properties" ma:root="true" ma:fieldsID="7ba44ce8f51f696ada8902b6dfd65b32" ns2:_="" ns3:_="">
    <xsd:import namespace="3d04ce2b-259a-43e1-b1f9-9b7f7594f86e"/>
    <xsd:import namespace="5c6beff6-7d87-4e1b-88cc-945dc335136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04ce2b-259a-43e1-b1f9-9b7f7594f8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c6beff6-7d87-4e1b-88cc-945dc335136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5BD4097-8236-4DCA-AED4-C6EE643A5C0B}">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01C5A25A-3590-4D5F-B7A8-15013516B4CF}">
  <ds:schemaRefs>
    <ds:schemaRef ds:uri="http://schemas.microsoft.com/sharepoint/v3/contenttype/forms"/>
  </ds:schemaRefs>
</ds:datastoreItem>
</file>

<file path=customXml/itemProps3.xml><?xml version="1.0" encoding="utf-8"?>
<ds:datastoreItem xmlns:ds="http://schemas.openxmlformats.org/officeDocument/2006/customXml" ds:itemID="{0558C008-966D-49EA-BDB4-4A4EF4C088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04ce2b-259a-43e1-b1f9-9b7f7594f86e"/>
    <ds:schemaRef ds:uri="5c6beff6-7d87-4e1b-88cc-945dc33513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31</TotalTime>
  <Words>12</Words>
  <Application>Microsoft Office PowerPoint</Application>
  <PresentationFormat>Widescreen</PresentationFormat>
  <Paragraphs>3</Paragraphs>
  <Slides>7</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Courier New</vt:lpstr>
      <vt:lpstr>Ubuntu</vt:lpstr>
      <vt:lpstr>Ubuntu Light</vt:lpstr>
      <vt:lpstr>Ubuntu Medium</vt:lpstr>
      <vt:lpstr>Wingdings</vt:lpstr>
      <vt:lpstr>1_Capgemini Master 2021</vt:lpstr>
      <vt:lpstr>think-cell Slide</vt:lpstr>
      <vt:lpstr>CI/CD &amp; Azure Kubernetes services</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 Talk:          [Title]</dc:title>
  <dc:creator>Schultz, Marlou</dc:creator>
  <cp:lastModifiedBy>Beltman, Rene</cp:lastModifiedBy>
  <cp:revision>16</cp:revision>
  <dcterms:created xsi:type="dcterms:W3CDTF">2021-06-16T09:20:39Z</dcterms:created>
  <dcterms:modified xsi:type="dcterms:W3CDTF">2021-11-10T09:2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23E2E7BBB724EBD66262F8096C02C</vt:lpwstr>
  </property>
</Properties>
</file>